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</p:sldMasterIdLst>
  <p:notesMasterIdLst>
    <p:notesMasterId r:id="rId11"/>
  </p:notesMasterIdLst>
  <p:handoutMasterIdLst>
    <p:handoutMasterId r:id="rId12"/>
  </p:handoutMasterIdLst>
  <p:sldIdLst>
    <p:sldId id="256" r:id="rId2"/>
    <p:sldId id="347" r:id="rId3"/>
    <p:sldId id="353" r:id="rId4"/>
    <p:sldId id="348" r:id="rId5"/>
    <p:sldId id="349" r:id="rId6"/>
    <p:sldId id="350" r:id="rId7"/>
    <p:sldId id="352" r:id="rId8"/>
    <p:sldId id="351" r:id="rId9"/>
    <p:sldId id="343" r:id="rId10"/>
  </p:sldIdLst>
  <p:sldSz cx="9144000" cy="6858000" type="screen4x3"/>
  <p:notesSz cx="6718300" cy="98552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014A13F2-5EFA-49B0-88F3-20EAB2D05807}">
          <p14:sldIdLst>
            <p14:sldId id="256"/>
            <p14:sldId id="347"/>
            <p14:sldId id="353"/>
            <p14:sldId id="348"/>
            <p14:sldId id="349"/>
            <p14:sldId id="350"/>
            <p14:sldId id="352"/>
            <p14:sldId id="351"/>
            <p14:sldId id="343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559C"/>
    <a:srgbClr val="EE7F00"/>
    <a:srgbClr val="005596"/>
    <a:srgbClr val="004788"/>
    <a:srgbClr val="A6A6A6"/>
    <a:srgbClr val="BFBFBF"/>
    <a:srgbClr val="585858"/>
    <a:srgbClr val="39A9DC"/>
    <a:srgbClr val="172D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6368" autoAdjust="0"/>
    <p:restoredTop sz="86627" autoAdjust="0"/>
  </p:normalViewPr>
  <p:slideViewPr>
    <p:cSldViewPr snapToObjects="1" showGuides="1">
      <p:cViewPr varScale="1">
        <p:scale>
          <a:sx n="90" d="100"/>
          <a:sy n="90" d="100"/>
        </p:scale>
        <p:origin x="-1812" y="-96"/>
      </p:cViewPr>
      <p:guideLst>
        <p:guide orient="horz" pos="2160"/>
        <p:guide orient="horz" pos="3317"/>
        <p:guide orient="horz" pos="2478"/>
        <p:guide orient="horz" pos="822"/>
        <p:guide orient="horz" pos="3498"/>
        <p:guide pos="3356"/>
        <p:guide pos="15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0" d="100"/>
        <a:sy n="140" d="100"/>
      </p:scale>
      <p:origin x="0" y="822"/>
    </p:cViewPr>
  </p:sorterViewPr>
  <p:notesViewPr>
    <p:cSldViewPr snapToObjects="1" showGuides="1">
      <p:cViewPr varScale="1">
        <p:scale>
          <a:sx n="63" d="100"/>
          <a:sy n="63" d="100"/>
        </p:scale>
        <p:origin x="-3084" y="-102"/>
      </p:cViewPr>
      <p:guideLst>
        <p:guide orient="horz" pos="3104"/>
        <p:guide pos="211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56DD5F0F-3C24-4D80-A625-C5BFD8111322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77901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98525" y="741363"/>
            <a:ext cx="4921250" cy="36925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1518" y="4680946"/>
            <a:ext cx="5375267" cy="4435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389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DA859317-F8E0-4391-80D7-7DC94CFB279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6338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0"/>
          <p:cNvSpPr>
            <a:spLocks noGrp="1"/>
          </p:cNvSpPr>
          <p:nvPr>
            <p:ph type="body" sz="quarter" idx="16"/>
          </p:nvPr>
        </p:nvSpPr>
        <p:spPr>
          <a:xfrm>
            <a:off x="252480" y="1449388"/>
            <a:ext cx="8640000" cy="5003800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B36466A1-D5D1-427E-B9D6-D94F4D651F26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4" y="3198402"/>
            <a:ext cx="3420951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Kenntnisse und Themenschwerpunkte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kt Erfahrung (Auszug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Vor und Nach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el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2F1E662E-CA7E-4F2F-AD2C-92557A52143E}" type="datetime1">
              <a:rPr lang="de-DE" smtClean="0"/>
              <a:t>15.04.20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87176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6455" y="1484313"/>
            <a:ext cx="2486025" cy="4860925"/>
          </a:xfrm>
          <a:prstGeom prst="rect">
            <a:avLst/>
          </a:prstGeom>
        </p:spPr>
      </p:pic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AC16D60B-9941-4F07-9F97-E64176A91BA2}" type="datetime1">
              <a:rPr lang="de-DE" smtClean="0"/>
              <a:t>15.04.20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034466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508" y="8620"/>
            <a:ext cx="9145016" cy="1656184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15" name="Picture 5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0"/>
            <a:ext cx="9144509" cy="686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hteck 15"/>
          <p:cNvSpPr/>
          <p:nvPr userDrawn="1"/>
        </p:nvSpPr>
        <p:spPr bwMode="auto">
          <a:xfrm>
            <a:off x="0" y="4572508"/>
            <a:ext cx="9144508" cy="2291430"/>
          </a:xfrm>
          <a:prstGeom prst="rect">
            <a:avLst/>
          </a:prstGeom>
          <a:solidFill>
            <a:srgbClr val="A6A6A6">
              <a:alpha val="80000"/>
            </a:srgbClr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dirty="0" smtClean="0">
              <a:sym typeface="Arial" charset="0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1519" y="5651068"/>
            <a:ext cx="8640000" cy="73026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buNone/>
              <a:defRPr sz="16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</a:lstStyle>
          <a:p>
            <a:pPr algn="l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e, etc </a:t>
            </a:r>
            <a:r>
              <a:rPr lang="de-DE" dirty="0" smtClean="0"/>
              <a:t>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51519" y="4833156"/>
            <a:ext cx="8640000" cy="792088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>
              <a:buNone/>
              <a:defRPr sz="2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Headline (Arial, 24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</a:p>
        </p:txBody>
      </p:sp>
      <p:sp>
        <p:nvSpPr>
          <p:cNvPr id="18" name="Rechteck 2"/>
          <p:cNvSpPr/>
          <p:nvPr userDrawn="1"/>
        </p:nvSpPr>
        <p:spPr bwMode="gray">
          <a:xfrm>
            <a:off x="6882972" y="6417332"/>
            <a:ext cx="2052638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eaLnBrk="0" hangingPunct="0">
              <a:defRPr/>
            </a:pPr>
            <a:r>
              <a:rPr lang="de-DE" sz="1000" b="0" dirty="0" smtClean="0">
                <a:solidFill>
                  <a:schemeClr val="bg1"/>
                </a:solidFill>
                <a:cs typeface="+mn-cs"/>
              </a:rPr>
              <a:t>© Faktor Zehn AG 2012</a:t>
            </a:r>
            <a:endParaRPr lang="de-DE" sz="1000" b="0" dirty="0">
              <a:solidFill>
                <a:schemeClr val="bg1"/>
              </a:solidFill>
              <a:cs typeface="+mn-cs"/>
            </a:endParaRPr>
          </a:p>
        </p:txBody>
      </p:sp>
      <p:pic>
        <p:nvPicPr>
          <p:cNvPr id="1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Logo_blau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622996" y="297026"/>
            <a:ext cx="2089464" cy="719705"/>
          </a:xfrm>
          <a:prstGeom prst="rect">
            <a:avLst/>
          </a:prstGeom>
          <a:effectLst>
            <a:outerShdw sx="1000" sy="1000" algn="tl" rotWithShape="0">
              <a:prstClr val="black"/>
            </a:outerShdw>
          </a:effectLst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380" y="-11507"/>
            <a:ext cx="9172391" cy="6876000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244284" y="6677130"/>
            <a:ext cx="8612192" cy="180870"/>
          </a:xfrm>
          <a:prstGeom prst="rect">
            <a:avLst/>
          </a:prstGeom>
        </p:spPr>
        <p:txBody>
          <a:bodyPr wrap="square" lIns="0" tIns="0" rIns="36000" bIns="0" anchor="ctr"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noProof="0" dirty="0" smtClean="0">
                <a:solidFill>
                  <a:schemeClr val="tx1"/>
                </a:solidFill>
              </a:rPr>
              <a:t>Germany 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witzerland  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</a:t>
            </a:r>
            <a:r>
              <a:rPr lang="en-US" sz="800" b="1" kern="120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UK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outh Africa      Austria      Spain      USA      Hungary  </a:t>
            </a:r>
            <a:r>
              <a:rPr lang="en-US" sz="800" b="1" noProof="0" dirty="0" smtClean="0">
                <a:solidFill>
                  <a:schemeClr val="tx1"/>
                </a:solidFill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</a:t>
            </a:r>
            <a:r>
              <a:rPr lang="en-US" sz="800" b="1" kern="1200" baseline="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Russia      Serbia      Italy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endParaRPr lang="en-US" sz="800" b="1" kern="1200" noProof="0" dirty="0">
              <a:solidFill>
                <a:schemeClr val="tx1"/>
              </a:solidFill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97893" y="2420888"/>
            <a:ext cx="4948214" cy="1310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558683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284" y="1448780"/>
            <a:ext cx="8640000" cy="524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hteck 9"/>
          <p:cNvSpPr/>
          <p:nvPr userDrawn="1"/>
        </p:nvSpPr>
        <p:spPr bwMode="auto">
          <a:xfrm>
            <a:off x="-508" y="620688"/>
            <a:ext cx="9145016" cy="699531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9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2109B8C5-69CE-421B-A2C3-4177F0BE4F4F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561168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D9CBADFA-8908-4EFE-9846-5EC89E67C557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250825" y="1808163"/>
            <a:ext cx="8640763" cy="4681537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6FF160FF-4920-46DF-8C09-758F9EF8625C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283968" y="6678000"/>
            <a:ext cx="576064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I-</a:t>
            </a:r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614943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B0A096FA-053D-4D73-8EBB-3EFEB163C396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7F927AAE-3477-4440-A9D8-D2D428227C15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825" y="1089466"/>
            <a:ext cx="8640000" cy="5585551"/>
          </a:xfrm>
          <a:prstGeom prst="rect">
            <a:avLst/>
          </a:prstGeom>
        </p:spPr>
      </p:pic>
      <p:sp>
        <p:nvSpPr>
          <p:cNvPr id="11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30674539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805B121C-19E5-4850-BD92-D180BE0083CE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252000" y="1088740"/>
            <a:ext cx="8640000" cy="558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455060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format text (Arial, 14 pt)</a:t>
            </a:r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en-US" noProof="0" smtClean="0"/>
              <a:t>Add picture by clicking graphic symbol</a:t>
            </a:r>
            <a:endParaRPr lang="en-US" noProof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Customer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Line of Business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Period of Time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Your Contact</a:t>
            </a:r>
            <a:r>
              <a:rPr lang="en-US" sz="1200" b="1" kern="1200" baseline="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 Person</a:t>
            </a:r>
            <a:endParaRPr lang="en-US" sz="1200" b="1" kern="1200" noProof="0" dirty="0" smtClean="0">
              <a:solidFill>
                <a:srgbClr val="00559C"/>
              </a:solidFill>
              <a:latin typeface="+mn-lt"/>
              <a:ea typeface="+mn-ea"/>
              <a:cs typeface="Arial" charset="0"/>
            </a:endParaRP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0,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0" kern="1200" noProof="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th (s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050" b="0" kern="1200" noProof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noProof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45303F9A-D1B0-4717-A573-F7CDCD4E414C}" type="datetime1">
              <a:rPr lang="de-DE" smtClean="0"/>
              <a:t>15.04.2015</a:t>
            </a:fld>
            <a:endParaRPr lang="de-DE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Kunde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Branche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Zeitraum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Ihre Kontaktperson</a:t>
            </a: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0,5 pt)</a:t>
            </a:r>
            <a:endParaRPr lang="de-DE" dirty="0" smtClean="0"/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0" kern="120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at (e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050" b="0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635AEBE4-1330-4656-83C5-D224FB2B4CC2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0775244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5" y="3198402"/>
            <a:ext cx="3282946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Skills and Main Topics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ct Experience  (</a:t>
            </a:r>
            <a:r>
              <a:rPr lang="de-DE" sz="1400" b="1" kern="1200" dirty="0" err="1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Extract</a:t>
            </a: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First and Family 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le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80451C2A-33C7-4836-B55D-8657EAF757BB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2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>
          <a:outerShdw dist="107763" dir="2700000" algn="ctr" rotWithShape="0">
            <a:srgbClr val="000000"/>
          </a:outerShdw>
        </a:effectLst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1520" y="667800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2000" y="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30" name="Textplatzhalter 24"/>
          <p:cNvSpPr>
            <a:spLocks noGrp="1"/>
          </p:cNvSpPr>
          <p:nvPr userDrawn="1">
            <p:ph type="body" idx="1"/>
          </p:nvPr>
        </p:nvSpPr>
        <p:spPr bwMode="auto">
          <a:xfrm>
            <a:off x="250825" y="1449388"/>
            <a:ext cx="8640000" cy="504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sz="1600" dirty="0" smtClean="0"/>
              <a:t>First </a:t>
            </a:r>
            <a:r>
              <a:rPr lang="de-DE" sz="1600" dirty="0" err="1" smtClean="0"/>
              <a:t>level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bullet</a:t>
            </a:r>
            <a:r>
              <a:rPr lang="de-DE" sz="1600" dirty="0" smtClean="0"/>
              <a:t> (Arial, 16 </a:t>
            </a:r>
            <a:r>
              <a:rPr lang="de-DE" sz="1600" dirty="0" err="1" smtClean="0"/>
              <a:t>pt</a:t>
            </a:r>
            <a:r>
              <a:rPr lang="de-DE" sz="1600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sz="1400" dirty="0" smtClean="0"/>
              <a:t>Secon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</a:t>
            </a:r>
            <a:r>
              <a:rPr lang="de-DE" sz="1400" dirty="0" err="1" smtClean="0"/>
              <a:t>bulles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4"/>
            <a:r>
              <a:rPr lang="de-DE" sz="1400" dirty="0" smtClean="0"/>
              <a:t>Thir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6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7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8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0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683588" y="6677130"/>
            <a:ext cx="180000" cy="18000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 |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6840252" y="6677130"/>
            <a:ext cx="2051483" cy="18087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© </a:t>
            </a:r>
            <a:r>
              <a:rPr lang="en-US" sz="700" b="1" kern="120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Faktor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baseline="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Zehn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AG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0" name="Titelplatzhalter 21"/>
          <p:cNvSpPr>
            <a:spLocks noGrp="1"/>
          </p:cNvSpPr>
          <p:nvPr userDrawn="1"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B55D9B56-50B3-465B-A047-7B57E2C1E83E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8" name="Straight Connector 7"/>
          <p:cNvCxnSpPr/>
          <p:nvPr userDrawn="1"/>
        </p:nvCxnSpPr>
        <p:spPr>
          <a:xfrm>
            <a:off x="250824" y="1088740"/>
            <a:ext cx="8640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90" r:id="rId2"/>
    <p:sldLayoutId id="2147483697" r:id="rId3"/>
    <p:sldLayoutId id="2147483688" r:id="rId4"/>
    <p:sldLayoutId id="2147483691" r:id="rId5"/>
    <p:sldLayoutId id="2147483700" r:id="rId6"/>
    <p:sldLayoutId id="2147483674" r:id="rId7"/>
    <p:sldLayoutId id="2147483704" r:id="rId8"/>
    <p:sldLayoutId id="2147483675" r:id="rId9"/>
    <p:sldLayoutId id="2147483705" r:id="rId10"/>
    <p:sldLayoutId id="2147483702" r:id="rId11"/>
    <p:sldLayoutId id="2147483679" r:id="rId12"/>
    <p:sldLayoutId id="2147483692" r:id="rId13"/>
    <p:sldLayoutId id="2147483701" r:id="rId14"/>
  </p:sldLayoutIdLst>
  <p:transition spd="slow"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22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5pPr>
      <a:lvl6pPr marL="4572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6pPr>
      <a:lvl7pPr marL="9144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7pPr>
      <a:lvl8pPr marL="13716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8pPr>
      <a:lvl9pPr marL="18288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9pPr>
    </p:titleStyle>
    <p:bodyStyle>
      <a:lvl1pPr marL="0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kumimoji="1" lang="de-DE" sz="1600" b="0">
          <a:solidFill>
            <a:schemeClr val="tx2"/>
          </a:solidFill>
          <a:latin typeface="+mn-lt"/>
          <a:ea typeface="+mn-ea"/>
          <a:cs typeface="+mn-cs"/>
        </a:defRPr>
      </a:lvl1pPr>
      <a:lvl2pPr marL="173038" indent="-173038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tabLst/>
        <a:defRPr sz="1600">
          <a:solidFill>
            <a:schemeClr val="tx2"/>
          </a:solidFill>
          <a:latin typeface="+mn-lt"/>
        </a:defRPr>
      </a:lvl2pPr>
      <a:lvl3pPr marL="173038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3pPr>
      <a:lvl4pPr marL="361950" indent="-188913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4pPr>
      <a:lvl5pPr marL="361950" indent="0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5pPr>
      <a:lvl6pPr marL="536575" indent="-174625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6pPr>
      <a:lvl7pPr marL="536575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200">
          <a:solidFill>
            <a:schemeClr val="tx2"/>
          </a:solidFill>
          <a:latin typeface="+mn-lt"/>
        </a:defRPr>
      </a:lvl7pPr>
      <a:lvl8pPr marL="725488" indent="-188913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tabLst>
          <a:tab pos="725488" algn="l"/>
        </a:tabLst>
        <a:defRPr sz="1200" baseline="0">
          <a:solidFill>
            <a:schemeClr val="tx2"/>
          </a:solidFill>
          <a:latin typeface="+mn-lt"/>
        </a:defRPr>
      </a:lvl8pPr>
      <a:lvl9pPr marL="725488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000" baseline="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 smtClean="0"/>
              <a:t>Einführungsschulung</a:t>
            </a:r>
          </a:p>
          <a:p>
            <a:endParaRPr lang="de-DE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indent="0"/>
            <a:r>
              <a:rPr lang="de-DE" dirty="0" smtClean="0"/>
              <a:t>Faktor-IPS</a:t>
            </a:r>
            <a:endParaRPr lang="de-DE" dirty="0"/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genda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55131F4-391B-4105-8265-D0702FEB14A9}" type="datetime1">
              <a:rPr lang="de-DE" smtClean="0"/>
              <a:t>15.04.2015</a:t>
            </a:fld>
            <a:endParaRPr lang="de-DE" dirty="0"/>
          </a:p>
        </p:txBody>
      </p:sp>
      <p:graphicFrame>
        <p:nvGraphicFramePr>
          <p:cNvPr id="6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8214790"/>
              </p:ext>
            </p:extLst>
          </p:nvPr>
        </p:nvGraphicFramePr>
        <p:xfrm>
          <a:off x="269448" y="1760896"/>
          <a:ext cx="8623727" cy="2814720"/>
        </p:xfrm>
        <a:graphic>
          <a:graphicData uri="http://schemas.openxmlformats.org/drawingml/2006/table">
            <a:tbl>
              <a:tblPr/>
              <a:tblGrid>
                <a:gridCol w="8623727"/>
              </a:tblGrid>
              <a:tr h="223838">
                <a:tc>
                  <a:txBody>
                    <a:bodyPr/>
                    <a:lstStyle/>
                    <a:p>
                      <a:pPr marL="403225" marR="0" lvl="0" indent="-4000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+mj-lt"/>
                        <a:buAutoNum type="romanUcPeriod"/>
                        <a:tabLst>
                          <a:tab pos="539750" algn="l"/>
                        </a:tabLst>
                      </a:pPr>
                      <a:r>
                        <a:rPr kumimoji="0" lang="de-DE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Motivation</a:t>
                      </a: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600" b="0" dirty="0" smtClean="0"/>
                        <a:t>II. UML Refresh</a:t>
                      </a:r>
                      <a:endParaRPr lang="de-DE" sz="1600" b="0" dirty="0"/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600" dirty="0" smtClean="0"/>
                        <a:t>III. Modellierung &amp; Produktdefinition mit Faktor-IPS</a:t>
                      </a:r>
                      <a:endParaRPr lang="de-DE" sz="1600" dirty="0"/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25425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600" dirty="0" smtClean="0"/>
                        <a:t>IV. Customizing </a:t>
                      </a:r>
                      <a:r>
                        <a:rPr lang="de-DE" sz="1600" smtClean="0"/>
                        <a:t>&amp; Tools</a:t>
                      </a:r>
                      <a:endParaRPr lang="de-DE" sz="1600" dirty="0"/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8519390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aktor-IPS – Film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AC16D60B-9941-4F07-9F97-E64176A91BA2}" type="datetime1">
              <a:rPr lang="de-DE" smtClean="0"/>
              <a:t>15.04.20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7434684"/>
      </p:ext>
    </p:extLst>
  </p:cSld>
  <p:clrMapOvr>
    <a:masterClrMapping/>
  </p:clrMapOvr>
  <p:transition spd="slow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18927E6-B333-4617-A650-C4A7C5C231C3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aktor-IPS ist ein Modellierungs- und Produktdefinitions-werkzeug auf Basis von Java &amp; </a:t>
            </a:r>
            <a:r>
              <a:rPr lang="de-DE" dirty="0" err="1" smtClean="0"/>
              <a:t>Eclipse</a:t>
            </a:r>
            <a:r>
              <a:rPr lang="de-DE" dirty="0" smtClean="0"/>
              <a:t>.</a:t>
            </a:r>
            <a:endParaRPr lang="de-DE" dirty="0"/>
          </a:p>
        </p:txBody>
      </p:sp>
      <p:pic>
        <p:nvPicPr>
          <p:cNvPr id="9" name="Picture 6" descr="C:\Users\sermis\AppData\Local\Temp\0kxqfwny.3le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9138" y="1664779"/>
            <a:ext cx="7809197" cy="3672433"/>
          </a:xfrm>
          <a:prstGeom prst="rect">
            <a:avLst/>
          </a:prstGeom>
          <a:noFill/>
        </p:spPr>
      </p:pic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-</a:t>
            </a:r>
            <a:fld id="{21FBF85A-D7A6-488B-8C2B-F7E0D6843921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263154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D3CE17C-1CFB-4FCD-BA37-7776E7556FAE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krete Produkte basieren auf einem </a:t>
            </a:r>
            <a:r>
              <a:rPr lang="de-DE" dirty="0" smtClean="0"/>
              <a:t>Vertrags- und Produktmodell</a:t>
            </a:r>
            <a:endParaRPr lang="de-DE" dirty="0"/>
          </a:p>
        </p:txBody>
      </p:sp>
      <p:sp>
        <p:nvSpPr>
          <p:cNvPr id="9" name="Rechteck 8"/>
          <p:cNvSpPr/>
          <p:nvPr/>
        </p:nvSpPr>
        <p:spPr bwMode="auto">
          <a:xfrm>
            <a:off x="827584" y="1448780"/>
            <a:ext cx="4032448" cy="3960000"/>
          </a:xfrm>
          <a:prstGeom prst="rect">
            <a:avLst/>
          </a:prstGeom>
          <a:ln>
            <a:prstDash val="sysDash"/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72000" tIns="144000" rIns="36000" bIns="36000" rtlCol="0" anchor="t"/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</a:pPr>
            <a:r>
              <a:rPr lang="de-DE" sz="2000" b="1" dirty="0" smtClean="0">
                <a:solidFill>
                  <a:schemeClr val="tx2"/>
                </a:solidFill>
                <a:sym typeface="Arial" charset="0"/>
              </a:rPr>
              <a:t>Modell</a:t>
            </a:r>
          </a:p>
        </p:txBody>
      </p:sp>
      <p:sp>
        <p:nvSpPr>
          <p:cNvPr id="10" name="Rechteck 9"/>
          <p:cNvSpPr/>
          <p:nvPr/>
        </p:nvSpPr>
        <p:spPr bwMode="auto">
          <a:xfrm>
            <a:off x="5220840" y="1448780"/>
            <a:ext cx="3475810" cy="3960000"/>
          </a:xfrm>
          <a:prstGeom prst="rect">
            <a:avLst/>
          </a:prstGeom>
          <a:ln>
            <a:prstDash val="sysDash"/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72000" tIns="144000" rIns="36000" bIns="36000" rtlCol="0" anchor="t"/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</a:pPr>
            <a:r>
              <a:rPr lang="de-DE" sz="2000" b="1" dirty="0" smtClean="0">
                <a:solidFill>
                  <a:schemeClr val="tx2"/>
                </a:solidFill>
                <a:sym typeface="Arial" charset="0"/>
              </a:rPr>
              <a:t>Produkte</a:t>
            </a:r>
          </a:p>
        </p:txBody>
      </p:sp>
      <p:sp>
        <p:nvSpPr>
          <p:cNvPr id="11" name="Abgerundetes Rechteck 10"/>
          <p:cNvSpPr/>
          <p:nvPr/>
        </p:nvSpPr>
        <p:spPr bwMode="auto">
          <a:xfrm>
            <a:off x="2855463" y="2636913"/>
            <a:ext cx="1848897" cy="1548173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lIns="72000" tIns="144000" rIns="36000" bIns="36000" rtlCol="0" anchor="t"/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</a:pPr>
            <a:r>
              <a:rPr lang="de-DE" sz="1400" dirty="0" smtClean="0">
                <a:solidFill>
                  <a:schemeClr val="bg1"/>
                </a:solidFill>
                <a:sym typeface="Arial" charset="0"/>
              </a:rPr>
              <a:t>Produkt</a:t>
            </a:r>
          </a:p>
        </p:txBody>
      </p:sp>
      <p:cxnSp>
        <p:nvCxnSpPr>
          <p:cNvPr id="12" name="Gerade Verbindung 11"/>
          <p:cNvCxnSpPr/>
          <p:nvPr/>
        </p:nvCxnSpPr>
        <p:spPr bwMode="auto">
          <a:xfrm>
            <a:off x="2855463" y="3104964"/>
            <a:ext cx="1848897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3" name="Textfeld 12"/>
          <p:cNvSpPr txBox="1"/>
          <p:nvPr/>
        </p:nvSpPr>
        <p:spPr>
          <a:xfrm>
            <a:off x="2906941" y="3167680"/>
            <a:ext cx="179741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EE7F00"/>
              </a:buClr>
              <a:buFont typeface="Wingdings" pitchFamily="2" charset="2"/>
              <a:buChar char="§"/>
            </a:pPr>
            <a:r>
              <a:rPr lang="de-DE" sz="1400" dirty="0" smtClean="0">
                <a:solidFill>
                  <a:schemeClr val="accent4"/>
                </a:solidFill>
              </a:rPr>
              <a:t> </a:t>
            </a:r>
            <a:r>
              <a:rPr lang="de-DE" sz="1400" dirty="0" smtClean="0">
                <a:solidFill>
                  <a:schemeClr val="bg1"/>
                </a:solidFill>
              </a:rPr>
              <a:t>Bezeichnung</a:t>
            </a:r>
          </a:p>
          <a:p>
            <a:pPr>
              <a:buClr>
                <a:srgbClr val="EE7F00"/>
              </a:buClr>
              <a:buFont typeface="Wingdings" pitchFamily="2" charset="2"/>
              <a:buChar char="§"/>
            </a:pPr>
            <a:r>
              <a:rPr lang="de-DE" sz="1400" dirty="0" smtClean="0">
                <a:solidFill>
                  <a:schemeClr val="bg1"/>
                </a:solidFill>
              </a:rPr>
              <a:t> Maximale Laufzeit</a:t>
            </a:r>
          </a:p>
          <a:p>
            <a:pPr>
              <a:buClr>
                <a:srgbClr val="EE7F00"/>
              </a:buClr>
              <a:buFont typeface="Wingdings" pitchFamily="2" charset="2"/>
              <a:buChar char="§"/>
            </a:pPr>
            <a:r>
              <a:rPr lang="de-DE" sz="1400" dirty="0" smtClean="0">
                <a:solidFill>
                  <a:schemeClr val="bg1"/>
                </a:solidFill>
              </a:rPr>
              <a:t>…</a:t>
            </a:r>
          </a:p>
          <a:p>
            <a:endParaRPr lang="de-DE" sz="1400" dirty="0"/>
          </a:p>
        </p:txBody>
      </p:sp>
      <p:sp>
        <p:nvSpPr>
          <p:cNvPr id="14" name="Abgerundetes Rechteck 13"/>
          <p:cNvSpPr/>
          <p:nvPr/>
        </p:nvSpPr>
        <p:spPr bwMode="auto">
          <a:xfrm>
            <a:off x="997015" y="2636913"/>
            <a:ext cx="1594765" cy="1548173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lIns="72000" tIns="144000" rIns="36000" bIns="36000" rtlCol="0" anchor="t"/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</a:pPr>
            <a:r>
              <a:rPr lang="de-DE" sz="1400" dirty="0" smtClean="0">
                <a:solidFill>
                  <a:schemeClr val="bg1"/>
                </a:solidFill>
                <a:sym typeface="Arial" charset="0"/>
              </a:rPr>
              <a:t>Vertrag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1041755" y="3167680"/>
            <a:ext cx="200210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0488" indent="-90488">
              <a:buClr>
                <a:srgbClr val="EE7F00"/>
              </a:buClr>
              <a:buFont typeface="Wingdings" pitchFamily="2" charset="2"/>
              <a:buChar char="§"/>
            </a:pPr>
            <a:r>
              <a:rPr lang="de-DE" sz="1400" dirty="0" smtClean="0">
                <a:solidFill>
                  <a:schemeClr val="accent4"/>
                </a:solidFill>
              </a:rPr>
              <a:t> </a:t>
            </a:r>
            <a:r>
              <a:rPr lang="de-DE" sz="1400" dirty="0" smtClean="0">
                <a:solidFill>
                  <a:schemeClr val="bg1"/>
                </a:solidFill>
              </a:rPr>
              <a:t>Beginn</a:t>
            </a:r>
          </a:p>
          <a:p>
            <a:pPr>
              <a:buClr>
                <a:srgbClr val="EE7F00"/>
              </a:buClr>
              <a:buFont typeface="Wingdings" pitchFamily="2" charset="2"/>
              <a:buChar char="§"/>
            </a:pPr>
            <a:r>
              <a:rPr lang="de-DE" sz="1400" dirty="0" smtClean="0">
                <a:solidFill>
                  <a:schemeClr val="bg1"/>
                </a:solidFill>
              </a:rPr>
              <a:t> Zahlweise</a:t>
            </a:r>
          </a:p>
          <a:p>
            <a:pPr>
              <a:buClr>
                <a:srgbClr val="EE7F00"/>
              </a:buClr>
              <a:buFont typeface="Wingdings" pitchFamily="2" charset="2"/>
              <a:buChar char="§"/>
            </a:pPr>
            <a:r>
              <a:rPr lang="de-DE" sz="1400" dirty="0" smtClean="0">
                <a:solidFill>
                  <a:schemeClr val="bg1"/>
                </a:solidFill>
              </a:rPr>
              <a:t>…</a:t>
            </a:r>
          </a:p>
        </p:txBody>
      </p:sp>
      <p:cxnSp>
        <p:nvCxnSpPr>
          <p:cNvPr id="16" name="Gerade Verbindung 15"/>
          <p:cNvCxnSpPr/>
          <p:nvPr/>
        </p:nvCxnSpPr>
        <p:spPr bwMode="auto">
          <a:xfrm>
            <a:off x="1005543" y="3099974"/>
            <a:ext cx="1584176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7" name="Abgerundetes Rechteck 16"/>
          <p:cNvSpPr/>
          <p:nvPr/>
        </p:nvSpPr>
        <p:spPr bwMode="auto">
          <a:xfrm>
            <a:off x="6084168" y="2475581"/>
            <a:ext cx="2016224" cy="90010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72000" tIns="144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</a:pPr>
            <a:r>
              <a:rPr lang="de-DE" sz="1400" b="1" dirty="0" smtClean="0">
                <a:solidFill>
                  <a:schemeClr val="bg1"/>
                </a:solidFill>
                <a:sym typeface="Arial" charset="0"/>
              </a:rPr>
              <a:t>KFZ Basis</a:t>
            </a:r>
            <a:r>
              <a:rPr lang="de-DE" sz="1400" b="1" dirty="0">
                <a:solidFill>
                  <a:schemeClr val="bg1"/>
                </a:solidFill>
                <a:sym typeface="Arial" charset="0"/>
              </a:rPr>
              <a:t> </a:t>
            </a:r>
            <a:r>
              <a:rPr lang="de-DE" sz="1400" b="1" dirty="0" smtClean="0">
                <a:solidFill>
                  <a:schemeClr val="bg1"/>
                </a:solidFill>
                <a:sym typeface="Arial" charset="0"/>
              </a:rPr>
              <a:t>2012</a:t>
            </a:r>
          </a:p>
        </p:txBody>
      </p:sp>
      <p:cxnSp>
        <p:nvCxnSpPr>
          <p:cNvPr id="18" name="Gerade Verbindung 17"/>
          <p:cNvCxnSpPr/>
          <p:nvPr/>
        </p:nvCxnSpPr>
        <p:spPr bwMode="auto">
          <a:xfrm>
            <a:off x="2591780" y="3787617"/>
            <a:ext cx="254630" cy="0"/>
          </a:xfrm>
          <a:prstGeom prst="line">
            <a:avLst/>
          </a:prstGeom>
          <a:ln>
            <a:solidFill>
              <a:schemeClr val="accent4"/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9" name="Abgerundetes Rechteck 18"/>
          <p:cNvSpPr/>
          <p:nvPr/>
        </p:nvSpPr>
        <p:spPr bwMode="auto">
          <a:xfrm>
            <a:off x="6084168" y="3645024"/>
            <a:ext cx="2016224" cy="90010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72000" tIns="144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</a:pPr>
            <a:r>
              <a:rPr lang="de-DE" sz="1400" b="1" dirty="0" smtClean="0">
                <a:solidFill>
                  <a:schemeClr val="bg1"/>
                </a:solidFill>
                <a:sym typeface="Arial" charset="0"/>
              </a:rPr>
              <a:t>KFZ Premium 2012</a:t>
            </a:r>
          </a:p>
        </p:txBody>
      </p:sp>
      <p:cxnSp>
        <p:nvCxnSpPr>
          <p:cNvPr id="20" name="Gerade Verbindung mit Pfeil 19"/>
          <p:cNvCxnSpPr/>
          <p:nvPr/>
        </p:nvCxnSpPr>
        <p:spPr bwMode="auto">
          <a:xfrm rot="10800000" flipV="1">
            <a:off x="4704360" y="2907629"/>
            <a:ext cx="1379808" cy="468052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/>
          <p:nvPr/>
        </p:nvCxnSpPr>
        <p:spPr bwMode="auto">
          <a:xfrm rot="10800000">
            <a:off x="4704360" y="3626287"/>
            <a:ext cx="1379808" cy="397467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-</a:t>
            </a:r>
            <a:fld id="{21FBF85A-D7A6-488B-8C2B-F7E0D6843921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4113928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BB4DE2D-5A10-4D5E-9BBB-866690724911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aktor-IPS ist ein Werkzeug für Produktentwickler und Anwendungsentwickler</a:t>
            </a:r>
            <a:endParaRPr lang="de-DE" dirty="0"/>
          </a:p>
        </p:txBody>
      </p:sp>
      <p:sp>
        <p:nvSpPr>
          <p:cNvPr id="22" name="Rechteck 21"/>
          <p:cNvSpPr/>
          <p:nvPr/>
        </p:nvSpPr>
        <p:spPr bwMode="auto">
          <a:xfrm>
            <a:off x="5220840" y="1466488"/>
            <a:ext cx="3475810" cy="3960000"/>
          </a:xfrm>
          <a:prstGeom prst="rect">
            <a:avLst/>
          </a:prstGeom>
          <a:ln>
            <a:prstDash val="sysDash"/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72000" tIns="144000" rIns="36000" bIns="36000" rtlCol="0" anchor="t"/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</a:pPr>
            <a:r>
              <a:rPr lang="de-DE" sz="2000" b="1" dirty="0" smtClean="0">
                <a:solidFill>
                  <a:schemeClr val="tx2"/>
                </a:solidFill>
                <a:sym typeface="Arial" charset="0"/>
              </a:rPr>
              <a:t>Produkte</a:t>
            </a:r>
          </a:p>
        </p:txBody>
      </p:sp>
      <p:sp>
        <p:nvSpPr>
          <p:cNvPr id="23" name="Rechteck 22"/>
          <p:cNvSpPr/>
          <p:nvPr/>
        </p:nvSpPr>
        <p:spPr bwMode="auto">
          <a:xfrm>
            <a:off x="827584" y="1448780"/>
            <a:ext cx="4032448" cy="3960000"/>
          </a:xfrm>
          <a:prstGeom prst="rect">
            <a:avLst/>
          </a:prstGeom>
          <a:ln>
            <a:prstDash val="sysDash"/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72000" tIns="144000" rIns="36000" bIns="36000" rtlCol="0" anchor="t"/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</a:pPr>
            <a:r>
              <a:rPr lang="de-DE" sz="2000" b="1" dirty="0" smtClean="0">
                <a:solidFill>
                  <a:schemeClr val="tx2"/>
                </a:solidFill>
                <a:sym typeface="Arial" charset="0"/>
              </a:rPr>
              <a:t>Modell &amp; JAVA Code</a:t>
            </a:r>
          </a:p>
        </p:txBody>
      </p:sp>
      <p:pic>
        <p:nvPicPr>
          <p:cNvPr id="24" name="Grafik 2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019" y="1888025"/>
            <a:ext cx="3105917" cy="190865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5" name="Grafik 2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400" y="3721900"/>
            <a:ext cx="3580664" cy="204736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6" name="Nach rechts gekrümmter Pfeil 25"/>
          <p:cNvSpPr/>
          <p:nvPr/>
        </p:nvSpPr>
        <p:spPr bwMode="auto">
          <a:xfrm>
            <a:off x="467544" y="3284984"/>
            <a:ext cx="520393" cy="956275"/>
          </a:xfrm>
          <a:prstGeom prst="curvedRightArrow">
            <a:avLst>
              <a:gd name="adj1" fmla="val 25000"/>
              <a:gd name="adj2" fmla="val 50000"/>
              <a:gd name="adj3" fmla="val 16301"/>
            </a:avLst>
          </a:prstGeom>
          <a:solidFill>
            <a:schemeClr val="accent5">
              <a:lumMod val="60000"/>
              <a:lumOff val="40000"/>
            </a:schemeClr>
          </a:solidFill>
          <a:ln w="12700" cap="flat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63500" dist="63500" dir="2700000" algn="ctr" rotWithShape="0">
              <a:srgbClr val="000000">
                <a:alpha val="40000"/>
              </a:srgbClr>
            </a:outerShdw>
          </a:effectLst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dirty="0" smtClean="0">
              <a:sym typeface="Arial" charset="0"/>
            </a:endParaRPr>
          </a:p>
        </p:txBody>
      </p:sp>
      <p:sp>
        <p:nvSpPr>
          <p:cNvPr id="27" name="Abgerundetes Rechteck 26"/>
          <p:cNvSpPr/>
          <p:nvPr/>
        </p:nvSpPr>
        <p:spPr bwMode="auto">
          <a:xfrm>
            <a:off x="5760132" y="2168860"/>
            <a:ext cx="1980220" cy="61206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72000" tIns="144000" rIns="36000" bIns="36000" rtlCol="0" anchor="t"/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</a:pPr>
            <a:r>
              <a:rPr lang="de-DE" sz="1100" dirty="0" smtClean="0">
                <a:sym typeface="Arial" charset="0"/>
              </a:rPr>
              <a:t>Produkt</a:t>
            </a:r>
          </a:p>
        </p:txBody>
      </p:sp>
      <p:sp>
        <p:nvSpPr>
          <p:cNvPr id="28" name="Abgerundetes Rechteck 27"/>
          <p:cNvSpPr/>
          <p:nvPr/>
        </p:nvSpPr>
        <p:spPr bwMode="auto">
          <a:xfrm>
            <a:off x="6037447" y="2291275"/>
            <a:ext cx="1980220" cy="61206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72000" tIns="144000" rIns="36000" bIns="36000" rtlCol="0" anchor="t"/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</a:pPr>
            <a:r>
              <a:rPr lang="de-DE" sz="1100" dirty="0" smtClean="0">
                <a:sym typeface="Arial" charset="0"/>
              </a:rPr>
              <a:t>Produkt</a:t>
            </a:r>
          </a:p>
        </p:txBody>
      </p:sp>
      <p:sp>
        <p:nvSpPr>
          <p:cNvPr id="29" name="Abgerundetes Rechteck 28"/>
          <p:cNvSpPr/>
          <p:nvPr/>
        </p:nvSpPr>
        <p:spPr bwMode="auto">
          <a:xfrm>
            <a:off x="6169406" y="2402886"/>
            <a:ext cx="1980220" cy="61206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72000" tIns="144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</a:pPr>
            <a:r>
              <a:rPr lang="de-DE" sz="1100" b="1" dirty="0" smtClean="0">
                <a:solidFill>
                  <a:schemeClr val="bg1"/>
                </a:solidFill>
                <a:sym typeface="Arial" charset="0"/>
              </a:rPr>
              <a:t>Produktbausteine</a:t>
            </a:r>
          </a:p>
        </p:txBody>
      </p:sp>
      <p:sp>
        <p:nvSpPr>
          <p:cNvPr id="30" name="Abgerundetes Rechteck 29"/>
          <p:cNvSpPr/>
          <p:nvPr/>
        </p:nvSpPr>
        <p:spPr bwMode="auto">
          <a:xfrm>
            <a:off x="5881374" y="3203975"/>
            <a:ext cx="1980220" cy="61206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72000" tIns="144000" rIns="36000" bIns="36000" rtlCol="0" anchor="t"/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</a:pPr>
            <a:r>
              <a:rPr lang="de-DE" sz="1100" dirty="0" smtClean="0">
                <a:sym typeface="Arial" charset="0"/>
              </a:rPr>
              <a:t>Produkt</a:t>
            </a:r>
          </a:p>
        </p:txBody>
      </p:sp>
      <p:sp>
        <p:nvSpPr>
          <p:cNvPr id="31" name="Abgerundetes Rechteck 30"/>
          <p:cNvSpPr/>
          <p:nvPr/>
        </p:nvSpPr>
        <p:spPr bwMode="auto">
          <a:xfrm>
            <a:off x="6037447" y="3326390"/>
            <a:ext cx="1980220" cy="61206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72000" tIns="144000" rIns="36000" bIns="36000" rtlCol="0" anchor="t"/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</a:pPr>
            <a:r>
              <a:rPr lang="de-DE" sz="1100" dirty="0" smtClean="0">
                <a:sym typeface="Arial" charset="0"/>
              </a:rPr>
              <a:t>Produkt</a:t>
            </a:r>
          </a:p>
        </p:txBody>
      </p:sp>
      <p:sp>
        <p:nvSpPr>
          <p:cNvPr id="32" name="Abgerundetes Rechteck 31"/>
          <p:cNvSpPr/>
          <p:nvPr/>
        </p:nvSpPr>
        <p:spPr bwMode="auto">
          <a:xfrm>
            <a:off x="6169406" y="3438001"/>
            <a:ext cx="1980220" cy="61206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72000" tIns="144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</a:pPr>
            <a:r>
              <a:rPr lang="de-DE" sz="1100" b="1" dirty="0" smtClean="0">
                <a:solidFill>
                  <a:schemeClr val="bg1"/>
                </a:solidFill>
                <a:sym typeface="Arial" charset="0"/>
              </a:rPr>
              <a:t>Tabellen</a:t>
            </a:r>
          </a:p>
        </p:txBody>
      </p:sp>
      <p:sp>
        <p:nvSpPr>
          <p:cNvPr id="33" name="Abgerundetes Rechteck 32"/>
          <p:cNvSpPr/>
          <p:nvPr/>
        </p:nvSpPr>
        <p:spPr bwMode="auto">
          <a:xfrm>
            <a:off x="5881374" y="4239090"/>
            <a:ext cx="1980220" cy="61206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72000" tIns="144000" rIns="36000" bIns="36000" rtlCol="0" anchor="t"/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</a:pPr>
            <a:r>
              <a:rPr lang="de-DE" sz="1100" dirty="0" smtClean="0">
                <a:sym typeface="Arial" charset="0"/>
              </a:rPr>
              <a:t>Produkt</a:t>
            </a:r>
          </a:p>
        </p:txBody>
      </p:sp>
      <p:sp>
        <p:nvSpPr>
          <p:cNvPr id="34" name="Abgerundetes Rechteck 33"/>
          <p:cNvSpPr/>
          <p:nvPr/>
        </p:nvSpPr>
        <p:spPr bwMode="auto">
          <a:xfrm>
            <a:off x="6037447" y="4361505"/>
            <a:ext cx="1980220" cy="61206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72000" tIns="144000" rIns="36000" bIns="36000" rtlCol="0" anchor="t"/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</a:pPr>
            <a:r>
              <a:rPr lang="de-DE" sz="1100" dirty="0" smtClean="0">
                <a:sym typeface="Arial" charset="0"/>
              </a:rPr>
              <a:t>Produkt</a:t>
            </a:r>
          </a:p>
        </p:txBody>
      </p:sp>
      <p:sp>
        <p:nvSpPr>
          <p:cNvPr id="35" name="Abgerundetes Rechteck 34"/>
          <p:cNvSpPr/>
          <p:nvPr/>
        </p:nvSpPr>
        <p:spPr bwMode="auto">
          <a:xfrm>
            <a:off x="6169406" y="4473116"/>
            <a:ext cx="1980220" cy="61206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72000" tIns="144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</a:pPr>
            <a:r>
              <a:rPr lang="de-DE" sz="1100" b="1" dirty="0" smtClean="0">
                <a:solidFill>
                  <a:schemeClr val="bg1"/>
                </a:solidFill>
                <a:sym typeface="Arial" charset="0"/>
              </a:rPr>
              <a:t>Formeln</a:t>
            </a:r>
          </a:p>
        </p:txBody>
      </p:sp>
      <p:pic>
        <p:nvPicPr>
          <p:cNvPr id="36" name="Picture 2" descr="C:\Users\sermis\AppData\Local\Microsoft\Windows\Temporary Internet Files\Content.Outlook\K2IAQMZW\Fotolia_34890363_L (3)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00202" y="2636912"/>
            <a:ext cx="2923543" cy="233666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7" name="Abgerundetes Rechteck 36"/>
          <p:cNvSpPr/>
          <p:nvPr/>
        </p:nvSpPr>
        <p:spPr>
          <a:xfrm>
            <a:off x="1047400" y="4473156"/>
            <a:ext cx="1152000" cy="360000"/>
          </a:xfrm>
          <a:prstGeom prst="roundRect">
            <a:avLst>
              <a:gd name="adj" fmla="val 10000"/>
            </a:avLst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anchor="ctr" anchorCtr="0"/>
          <a:lstStyle/>
          <a:p>
            <a:pPr algn="ctr"/>
            <a:r>
              <a:rPr lang="de-DE" sz="1100" dirty="0" smtClean="0"/>
              <a:t>Anwendungs-</a:t>
            </a:r>
            <a:r>
              <a:rPr lang="de-DE" sz="1100" dirty="0" err="1" smtClean="0"/>
              <a:t>entwickler</a:t>
            </a:r>
            <a:endParaRPr lang="de-DE" sz="1100" dirty="0"/>
          </a:p>
        </p:txBody>
      </p:sp>
      <p:pic>
        <p:nvPicPr>
          <p:cNvPr id="38" name="Picture 5" descr="C:\Users\sermis\AppData\Local\Microsoft\Windows\Temporary Internet Files\Content.Outlook\K2IAQMZW\eclipse (3)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871700" y="3430377"/>
            <a:ext cx="1073827" cy="571452"/>
          </a:xfrm>
          <a:prstGeom prst="rect">
            <a:avLst/>
          </a:prstGeom>
          <a:noFill/>
        </p:spPr>
      </p:pic>
      <p:pic>
        <p:nvPicPr>
          <p:cNvPr id="39" name="Picture 2" descr="C:\Users\sermis\AppData\Local\Microsoft\Windows\Temporary Internet Files\Content.Outlook\K2IAQMZW\Fotolia_34890363_L (3)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537215" y="2636912"/>
            <a:ext cx="2923217" cy="23364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grpSp>
        <p:nvGrpSpPr>
          <p:cNvPr id="40" name="Gruppieren 53"/>
          <p:cNvGrpSpPr/>
          <p:nvPr/>
        </p:nvGrpSpPr>
        <p:grpSpPr>
          <a:xfrm>
            <a:off x="2428526" y="3933732"/>
            <a:ext cx="704587" cy="277582"/>
            <a:chOff x="776958" y="3444115"/>
            <a:chExt cx="1491294" cy="587517"/>
          </a:xfrm>
        </p:grpSpPr>
        <p:sp>
          <p:nvSpPr>
            <p:cNvPr id="41" name="Abgerundetes Rechteck 40"/>
            <p:cNvSpPr/>
            <p:nvPr/>
          </p:nvSpPr>
          <p:spPr>
            <a:xfrm>
              <a:off x="776958" y="3444115"/>
              <a:ext cx="1491294" cy="587517"/>
            </a:xfrm>
            <a:prstGeom prst="roundRect">
              <a:avLst>
                <a:gd name="adj" fmla="val 10000"/>
              </a:avLst>
            </a:prstGeom>
            <a:blipFill rotWithShape="0">
              <a:blip r:embed="rId6" cstate="print"/>
              <a:stretch>
                <a:fillRect/>
              </a:stretch>
            </a:blipFill>
            <a:ln w="3175">
              <a:solidFill>
                <a:srgbClr val="F2F2F2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2" name="Abgerundetes Rechteck 8"/>
            <p:cNvSpPr/>
            <p:nvPr/>
          </p:nvSpPr>
          <p:spPr>
            <a:xfrm>
              <a:off x="794166" y="3461323"/>
              <a:ext cx="1456878" cy="553101"/>
            </a:xfrm>
            <a:prstGeom prst="rect">
              <a:avLst/>
            </a:prstGeom>
            <a:ln w="3175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8100" tIns="28575" rIns="38100" bIns="28575" numCol="1" spcCol="1270" anchor="ctr" anchorCtr="0">
              <a:noAutofit/>
            </a:bodyPr>
            <a:lstStyle/>
            <a:p>
              <a:pPr lvl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de-DE" sz="1500" kern="1200" dirty="0" smtClean="0"/>
            </a:p>
            <a:p>
              <a:pPr lvl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de-DE" sz="1500" kern="1200" dirty="0"/>
            </a:p>
          </p:txBody>
        </p:sp>
      </p:grpSp>
      <p:grpSp>
        <p:nvGrpSpPr>
          <p:cNvPr id="43" name="Gruppieren 69"/>
          <p:cNvGrpSpPr/>
          <p:nvPr/>
        </p:nvGrpSpPr>
        <p:grpSpPr>
          <a:xfrm>
            <a:off x="6471367" y="3572716"/>
            <a:ext cx="1258534" cy="647412"/>
            <a:chOff x="3926201" y="3142536"/>
            <a:chExt cx="1726432" cy="888107"/>
          </a:xfrm>
        </p:grpSpPr>
        <p:sp>
          <p:nvSpPr>
            <p:cNvPr id="44" name="Abgerundetes Rechteck 43"/>
            <p:cNvSpPr/>
            <p:nvPr/>
          </p:nvSpPr>
          <p:spPr>
            <a:xfrm>
              <a:off x="3926201" y="3142536"/>
              <a:ext cx="1726432" cy="888107"/>
            </a:xfrm>
            <a:prstGeom prst="roundRect">
              <a:avLst>
                <a:gd name="adj" fmla="val 10000"/>
              </a:avLst>
            </a:prstGeom>
            <a:blipFill rotWithShape="0">
              <a:blip r:embed="rId7" cstate="print"/>
              <a:stretch>
                <a:fillRect/>
              </a:stretch>
            </a:blipFill>
            <a:ln w="3175"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5" name="Abgerundetes Rechteck 4"/>
            <p:cNvSpPr/>
            <p:nvPr/>
          </p:nvSpPr>
          <p:spPr>
            <a:xfrm>
              <a:off x="3952213" y="3168548"/>
              <a:ext cx="1674408" cy="836083"/>
            </a:xfrm>
            <a:prstGeom prst="rect">
              <a:avLst/>
            </a:prstGeom>
            <a:ln w="3175"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8100" tIns="28575" rIns="38100" bIns="28575" numCol="1" spcCol="1270" anchor="ctr" anchorCtr="0">
              <a:noAutofit/>
            </a:bodyPr>
            <a:lstStyle/>
            <a:p>
              <a:pPr lvl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de-DE" sz="1500" kern="1200" dirty="0"/>
            </a:p>
          </p:txBody>
        </p:sp>
      </p:grpSp>
      <p:sp>
        <p:nvSpPr>
          <p:cNvPr id="46" name="Abgerundetes Rechteck 45"/>
          <p:cNvSpPr/>
          <p:nvPr/>
        </p:nvSpPr>
        <p:spPr>
          <a:xfrm>
            <a:off x="5556899" y="4473156"/>
            <a:ext cx="1150777" cy="360000"/>
          </a:xfrm>
          <a:prstGeom prst="roundRect">
            <a:avLst>
              <a:gd name="adj" fmla="val 10000"/>
            </a:avLst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anchor="ctr" anchorCtr="0"/>
          <a:lstStyle/>
          <a:p>
            <a:pPr algn="ctr"/>
            <a:r>
              <a:rPr lang="de-DE" sz="1100" dirty="0" smtClean="0"/>
              <a:t>Produkt-</a:t>
            </a:r>
          </a:p>
          <a:p>
            <a:pPr algn="ctr"/>
            <a:r>
              <a:rPr lang="de-DE" sz="1100" dirty="0" err="1" smtClean="0"/>
              <a:t>entwickler</a:t>
            </a:r>
            <a:endParaRPr lang="de-DE" sz="11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-</a:t>
            </a:r>
            <a:fld id="{21FBF85A-D7A6-488B-8C2B-F7E0D6843921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3794712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0A5B6AD-81B1-4761-8996-81F6614BD981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aktor-IPS kann als klassisches Produktsystem eingesetzt werden.</a:t>
            </a:r>
            <a:endParaRPr lang="de-DE" dirty="0"/>
          </a:p>
        </p:txBody>
      </p:sp>
      <p:sp>
        <p:nvSpPr>
          <p:cNvPr id="10" name="Rechteck 9"/>
          <p:cNvSpPr/>
          <p:nvPr/>
        </p:nvSpPr>
        <p:spPr bwMode="auto">
          <a:xfrm>
            <a:off x="927100" y="1341686"/>
            <a:ext cx="4681538" cy="2519362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de-DE" sz="1600" b="1" dirty="0">
                <a:solidFill>
                  <a:schemeClr val="accent4"/>
                </a:solidFill>
              </a:rPr>
              <a:t>Operatives</a:t>
            </a:r>
          </a:p>
          <a:p>
            <a:pPr>
              <a:defRPr/>
            </a:pPr>
            <a:r>
              <a:rPr lang="de-DE" sz="1600" b="1" dirty="0">
                <a:solidFill>
                  <a:schemeClr val="accent4"/>
                </a:solidFill>
              </a:rPr>
              <a:t>System</a:t>
            </a:r>
          </a:p>
        </p:txBody>
      </p:sp>
      <p:sp>
        <p:nvSpPr>
          <p:cNvPr id="11" name="Abgerundetes Rechteck 10"/>
          <p:cNvSpPr/>
          <p:nvPr/>
        </p:nvSpPr>
        <p:spPr bwMode="auto">
          <a:xfrm>
            <a:off x="2224088" y="1484561"/>
            <a:ext cx="1020762" cy="576262"/>
          </a:xfrm>
          <a:prstGeom prst="round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de-DE" sz="1300" dirty="0">
                <a:solidFill>
                  <a:schemeClr val="bg1"/>
                </a:solidFill>
              </a:rPr>
              <a:t>User Interface</a:t>
            </a:r>
          </a:p>
        </p:txBody>
      </p:sp>
      <p:sp>
        <p:nvSpPr>
          <p:cNvPr id="12" name="Abgerundetes Rechteck 11"/>
          <p:cNvSpPr/>
          <p:nvPr/>
        </p:nvSpPr>
        <p:spPr bwMode="auto">
          <a:xfrm>
            <a:off x="2224088" y="2205286"/>
            <a:ext cx="2159000" cy="1111250"/>
          </a:xfrm>
          <a:prstGeom prst="round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de-DE" sz="1300" dirty="0">
                <a:solidFill>
                  <a:schemeClr val="bg1"/>
                </a:solidFill>
              </a:rPr>
              <a:t>Geschäftslogik</a:t>
            </a:r>
          </a:p>
        </p:txBody>
      </p:sp>
      <p:sp>
        <p:nvSpPr>
          <p:cNvPr id="13" name="Abgerundetes Rechteck 12"/>
          <p:cNvSpPr/>
          <p:nvPr/>
        </p:nvSpPr>
        <p:spPr bwMode="auto">
          <a:xfrm>
            <a:off x="3375025" y="1484561"/>
            <a:ext cx="1008063" cy="576262"/>
          </a:xfrm>
          <a:prstGeom prst="round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de-DE" sz="1300" dirty="0">
                <a:solidFill>
                  <a:schemeClr val="bg1"/>
                </a:solidFill>
              </a:rPr>
              <a:t>Batchjobs</a:t>
            </a:r>
          </a:p>
          <a:p>
            <a:pPr algn="ctr">
              <a:defRPr/>
            </a:pPr>
            <a:r>
              <a:rPr lang="de-DE" sz="1300" dirty="0">
                <a:solidFill>
                  <a:schemeClr val="bg1"/>
                </a:solidFill>
              </a:rPr>
              <a:t>Services</a:t>
            </a:r>
          </a:p>
        </p:txBody>
      </p:sp>
      <p:sp>
        <p:nvSpPr>
          <p:cNvPr id="14" name="Abgerundetes Rechteck 13"/>
          <p:cNvSpPr/>
          <p:nvPr/>
        </p:nvSpPr>
        <p:spPr bwMode="auto">
          <a:xfrm>
            <a:off x="2295525" y="2583111"/>
            <a:ext cx="1079500" cy="630237"/>
          </a:xfrm>
          <a:prstGeom prst="round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sz="1300" dirty="0"/>
              <a:t>Geschäfts-objekte</a:t>
            </a:r>
          </a:p>
        </p:txBody>
      </p:sp>
      <p:sp>
        <p:nvSpPr>
          <p:cNvPr id="15" name="Abgerundetes Rechteck 14"/>
          <p:cNvSpPr/>
          <p:nvPr/>
        </p:nvSpPr>
        <p:spPr bwMode="auto">
          <a:xfrm>
            <a:off x="998537" y="3068886"/>
            <a:ext cx="1116000" cy="756000"/>
          </a:xfrm>
          <a:prstGeom prst="round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anchor="ctr" anchorCtr="0"/>
          <a:lstStyle/>
          <a:p>
            <a:pPr algn="ctr">
              <a:defRPr/>
            </a:pPr>
            <a:r>
              <a:rPr lang="de-DE" sz="1300" dirty="0">
                <a:solidFill>
                  <a:schemeClr val="bg1"/>
                </a:solidFill>
              </a:rPr>
              <a:t>Dienste</a:t>
            </a:r>
          </a:p>
        </p:txBody>
      </p:sp>
      <p:sp>
        <p:nvSpPr>
          <p:cNvPr id="16" name="Abgerundetes Rechteck 15"/>
          <p:cNvSpPr/>
          <p:nvPr/>
        </p:nvSpPr>
        <p:spPr bwMode="auto">
          <a:xfrm>
            <a:off x="998537" y="2205286"/>
            <a:ext cx="1116000" cy="756000"/>
          </a:xfrm>
          <a:prstGeom prst="round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36000" rIns="36000" anchor="ctr" anchorCtr="0"/>
          <a:lstStyle/>
          <a:p>
            <a:pPr algn="ctr">
              <a:defRPr/>
            </a:pPr>
            <a:endParaRPr lang="de-DE" sz="1300" dirty="0" smtClean="0">
              <a:solidFill>
                <a:schemeClr val="bg1"/>
              </a:solidFill>
            </a:endParaRPr>
          </a:p>
          <a:p>
            <a:pPr algn="ctr">
              <a:defRPr/>
            </a:pPr>
            <a:endParaRPr lang="de-DE" sz="1300" dirty="0" smtClean="0">
              <a:solidFill>
                <a:schemeClr val="bg1"/>
              </a:solidFill>
            </a:endParaRPr>
          </a:p>
          <a:p>
            <a:pPr algn="ctr">
              <a:defRPr/>
            </a:pPr>
            <a:endParaRPr lang="de-DE" sz="1300" dirty="0" smtClean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de-DE" sz="1300" dirty="0" smtClean="0">
                <a:solidFill>
                  <a:schemeClr val="bg1"/>
                </a:solidFill>
              </a:rPr>
              <a:t>Anbindung</a:t>
            </a:r>
            <a:endParaRPr lang="de-DE" sz="1300" dirty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de-DE" sz="1300" dirty="0" err="1">
                <a:solidFill>
                  <a:schemeClr val="bg1"/>
                </a:solidFill>
              </a:rPr>
              <a:t>Umsysteme</a:t>
            </a:r>
            <a:endParaRPr lang="de-DE" sz="1300" dirty="0">
              <a:solidFill>
                <a:schemeClr val="bg1"/>
              </a:solidFill>
            </a:endParaRPr>
          </a:p>
          <a:p>
            <a:pPr algn="ctr">
              <a:defRPr/>
            </a:pPr>
            <a:endParaRPr lang="de-DE" sz="1300" dirty="0">
              <a:solidFill>
                <a:schemeClr val="bg1"/>
              </a:solidFill>
            </a:endParaRPr>
          </a:p>
          <a:p>
            <a:pPr algn="ctr">
              <a:defRPr/>
            </a:pPr>
            <a:endParaRPr lang="de-DE" sz="1300" dirty="0">
              <a:solidFill>
                <a:schemeClr val="bg1"/>
              </a:solidFill>
            </a:endParaRPr>
          </a:p>
          <a:p>
            <a:pPr algn="ctr">
              <a:defRPr/>
            </a:pPr>
            <a:endParaRPr lang="de-DE" sz="1300" dirty="0">
              <a:solidFill>
                <a:schemeClr val="bg1"/>
              </a:solidFill>
            </a:endParaRPr>
          </a:p>
        </p:txBody>
      </p:sp>
      <p:sp>
        <p:nvSpPr>
          <p:cNvPr id="17" name="Abgerundetes Rechteck 16"/>
          <p:cNvSpPr/>
          <p:nvPr/>
        </p:nvSpPr>
        <p:spPr bwMode="auto">
          <a:xfrm>
            <a:off x="4427984" y="2205286"/>
            <a:ext cx="1116000" cy="1543050"/>
          </a:xfrm>
          <a:prstGeom prst="round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Ins="36000" anchor="ctr" anchorCtr="0"/>
          <a:lstStyle/>
          <a:p>
            <a:pPr algn="ctr">
              <a:defRPr/>
            </a:pPr>
            <a:r>
              <a:rPr lang="de-DE" sz="1300" dirty="0">
                <a:solidFill>
                  <a:schemeClr val="bg1"/>
                </a:solidFill>
              </a:rPr>
              <a:t>Anbindung</a:t>
            </a:r>
          </a:p>
          <a:p>
            <a:pPr algn="ctr">
              <a:defRPr/>
            </a:pPr>
            <a:r>
              <a:rPr lang="de-DE" sz="1300" dirty="0">
                <a:solidFill>
                  <a:schemeClr val="bg1"/>
                </a:solidFill>
              </a:rPr>
              <a:t>Faktor-IPS</a:t>
            </a:r>
          </a:p>
        </p:txBody>
      </p:sp>
      <p:sp>
        <p:nvSpPr>
          <p:cNvPr id="18" name="Abgerundetes Rechteck 17"/>
          <p:cNvSpPr/>
          <p:nvPr/>
        </p:nvSpPr>
        <p:spPr bwMode="auto">
          <a:xfrm>
            <a:off x="3557589" y="2583111"/>
            <a:ext cx="754062" cy="630237"/>
          </a:xfrm>
          <a:prstGeom prst="round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sz="1300" dirty="0" err="1"/>
              <a:t>GeVos</a:t>
            </a:r>
            <a:endParaRPr lang="de-DE" sz="1300" dirty="0"/>
          </a:p>
        </p:txBody>
      </p:sp>
      <p:sp>
        <p:nvSpPr>
          <p:cNvPr id="19" name="Rechteck 18"/>
          <p:cNvSpPr/>
          <p:nvPr/>
        </p:nvSpPr>
        <p:spPr bwMode="auto">
          <a:xfrm>
            <a:off x="6624774" y="1664804"/>
            <a:ext cx="1871662" cy="1800225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72000" tIns="36000" rIns="36000" bIns="36000" rtlCol="0" anchor="ctr" anchorCtr="0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defRPr/>
            </a:pPr>
            <a:r>
              <a:rPr lang="de-DE" sz="1800" b="1" dirty="0">
                <a:solidFill>
                  <a:schemeClr val="accent3"/>
                </a:solidFill>
                <a:latin typeface="Arial" charset="0"/>
                <a:cs typeface="Arial" charset="0"/>
                <a:sym typeface="Arial" charset="0"/>
              </a:rPr>
              <a:t>Faktor-IPS </a:t>
            </a:r>
            <a:r>
              <a:rPr lang="de-DE" sz="1800" b="1" dirty="0" err="1">
                <a:solidFill>
                  <a:schemeClr val="accent3"/>
                </a:solidFill>
                <a:latin typeface="Arial" charset="0"/>
                <a:cs typeface="Arial" charset="0"/>
                <a:sym typeface="Arial" charset="0"/>
              </a:rPr>
              <a:t>Runtime</a:t>
            </a:r>
            <a:endParaRPr lang="de-DE" sz="1800" b="1" dirty="0">
              <a:solidFill>
                <a:schemeClr val="accent3"/>
              </a:solidFill>
              <a:latin typeface="Arial" charset="0"/>
              <a:cs typeface="Arial" charset="0"/>
              <a:sym typeface="Arial" charset="0"/>
            </a:endParaRPr>
          </a:p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defRPr/>
            </a:pPr>
            <a:endParaRPr lang="de-DE" sz="1800" b="1" dirty="0">
              <a:solidFill>
                <a:schemeClr val="accent3"/>
              </a:solidFill>
              <a:latin typeface="Arial" charset="0"/>
              <a:cs typeface="Arial" charset="0"/>
              <a:sym typeface="Arial" charset="0"/>
            </a:endParaRPr>
          </a:p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defRPr/>
            </a:pPr>
            <a:r>
              <a:rPr lang="de-DE" sz="1600" b="1" dirty="0">
                <a:solidFill>
                  <a:schemeClr val="accent3"/>
                </a:solidFill>
                <a:latin typeface="Arial" charset="0"/>
                <a:cs typeface="Arial" charset="0"/>
                <a:sym typeface="Arial" charset="0"/>
              </a:rPr>
              <a:t>(Produkt Server)</a:t>
            </a:r>
          </a:p>
        </p:txBody>
      </p:sp>
      <p:sp>
        <p:nvSpPr>
          <p:cNvPr id="20" name="Rechteck 19"/>
          <p:cNvSpPr/>
          <p:nvPr/>
        </p:nvSpPr>
        <p:spPr bwMode="auto">
          <a:xfrm>
            <a:off x="6624774" y="4293096"/>
            <a:ext cx="1871662" cy="1800225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72000" tIns="36000" rIns="36000" bIns="36000" rtlCol="0" anchor="t" anchorCtr="0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defRPr/>
            </a:pPr>
            <a:r>
              <a:rPr lang="de-DE" sz="1800" b="1" dirty="0">
                <a:solidFill>
                  <a:schemeClr val="accent3"/>
                </a:solidFill>
                <a:latin typeface="Arial" charset="0"/>
                <a:cs typeface="Arial" charset="0"/>
                <a:sym typeface="Arial" charset="0"/>
              </a:rPr>
              <a:t>Faktor-IPS</a:t>
            </a:r>
          </a:p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defRPr/>
            </a:pPr>
            <a:endParaRPr lang="de-DE" sz="1800" b="1" dirty="0">
              <a:solidFill>
                <a:schemeClr val="accent3"/>
              </a:solidFill>
              <a:latin typeface="Arial" charset="0"/>
              <a:cs typeface="Arial" charset="0"/>
              <a:sym typeface="Arial" charset="0"/>
            </a:endParaRPr>
          </a:p>
        </p:txBody>
      </p:sp>
      <p:sp>
        <p:nvSpPr>
          <p:cNvPr id="21" name="Pfeil nach rechts 20"/>
          <p:cNvSpPr/>
          <p:nvPr/>
        </p:nvSpPr>
        <p:spPr bwMode="auto">
          <a:xfrm>
            <a:off x="5652120" y="2348880"/>
            <a:ext cx="908050" cy="452437"/>
          </a:xfrm>
          <a:prstGeom prst="rightArrow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endParaRPr lang="de-DE"/>
          </a:p>
        </p:txBody>
      </p:sp>
      <p:cxnSp>
        <p:nvCxnSpPr>
          <p:cNvPr id="22" name="Gerade Verbindung 21"/>
          <p:cNvCxnSpPr/>
          <p:nvPr/>
        </p:nvCxnSpPr>
        <p:spPr bwMode="auto">
          <a:xfrm>
            <a:off x="250825" y="4005263"/>
            <a:ext cx="8642350" cy="0"/>
          </a:xfrm>
          <a:prstGeom prst="line">
            <a:avLst/>
          </a:prstGeom>
          <a:ln w="6350"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23" name="Gerade Verbindung mit Pfeil 22"/>
          <p:cNvCxnSpPr/>
          <p:nvPr/>
        </p:nvCxnSpPr>
        <p:spPr bwMode="auto">
          <a:xfrm rot="5400000" flipH="1" flipV="1">
            <a:off x="7146634" y="3878975"/>
            <a:ext cx="756083" cy="149"/>
          </a:xfrm>
          <a:prstGeom prst="straightConnector1">
            <a:avLst/>
          </a:prstGeom>
          <a:ln>
            <a:prstDash val="sysDash"/>
            <a:headEnd type="none" w="med" len="med"/>
            <a:tailEnd type="arrow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24" name="Abgerundetes Rechteck 23"/>
          <p:cNvSpPr/>
          <p:nvPr/>
        </p:nvSpPr>
        <p:spPr bwMode="auto">
          <a:xfrm>
            <a:off x="6711479" y="4724896"/>
            <a:ext cx="1677988" cy="576263"/>
          </a:xfrm>
          <a:prstGeom prst="roundRect">
            <a:avLst/>
          </a:prstGeom>
          <a:solidFill>
            <a:schemeClr val="bg1">
              <a:lumMod val="95000"/>
              <a:alpha val="85000"/>
            </a:schemeClr>
          </a:solidFill>
          <a:ln w="0">
            <a:solidFill>
              <a:schemeClr val="bg1">
                <a:lumMod val="75000"/>
              </a:schemeClr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0" rtlCol="0" anchor="ctr" anchorCtr="1"/>
          <a:lstStyle/>
          <a:p>
            <a:pPr algn="ctr">
              <a:defRPr/>
            </a:pPr>
            <a:r>
              <a:rPr lang="de-DE" sz="1400" dirty="0">
                <a:solidFill>
                  <a:schemeClr val="tx1"/>
                </a:solidFill>
              </a:rPr>
              <a:t>Modellierung &amp; Codegenerierung</a:t>
            </a:r>
          </a:p>
        </p:txBody>
      </p:sp>
      <p:sp>
        <p:nvSpPr>
          <p:cNvPr id="25" name="Abgerundetes Rechteck 24"/>
          <p:cNvSpPr/>
          <p:nvPr/>
        </p:nvSpPr>
        <p:spPr bwMode="auto">
          <a:xfrm>
            <a:off x="6711479" y="5372596"/>
            <a:ext cx="1677988" cy="576263"/>
          </a:xfrm>
          <a:prstGeom prst="roundRect">
            <a:avLst/>
          </a:prstGeom>
          <a:solidFill>
            <a:schemeClr val="bg1">
              <a:lumMod val="95000"/>
              <a:alpha val="85000"/>
            </a:schemeClr>
          </a:solidFill>
          <a:ln w="0">
            <a:solidFill>
              <a:schemeClr val="bg1">
                <a:lumMod val="75000"/>
              </a:schemeClr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0" rtlCol="0" anchor="ctr" anchorCtr="1"/>
          <a:lstStyle/>
          <a:p>
            <a:pPr algn="ctr">
              <a:defRPr/>
            </a:pPr>
            <a:r>
              <a:rPr lang="de-DE" sz="1400" dirty="0">
                <a:solidFill>
                  <a:schemeClr val="tx1"/>
                </a:solidFill>
              </a:rPr>
              <a:t>Produktdefinition</a:t>
            </a:r>
          </a:p>
        </p:txBody>
      </p:sp>
      <p:sp>
        <p:nvSpPr>
          <p:cNvPr id="26" name="Abgerundetes Rechteck 25"/>
          <p:cNvSpPr/>
          <p:nvPr/>
        </p:nvSpPr>
        <p:spPr bwMode="auto">
          <a:xfrm>
            <a:off x="2224088" y="3429248"/>
            <a:ext cx="2159000" cy="342900"/>
          </a:xfrm>
          <a:prstGeom prst="round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/>
          <a:lstStyle/>
          <a:p>
            <a:pPr marL="715963">
              <a:tabLst>
                <a:tab pos="715963" algn="l"/>
              </a:tabLst>
              <a:defRPr/>
            </a:pPr>
            <a:r>
              <a:rPr lang="de-DE" sz="1300" dirty="0" smtClean="0">
                <a:solidFill>
                  <a:schemeClr val="bg1"/>
                </a:solidFill>
              </a:rPr>
              <a:t>Persistenz</a:t>
            </a:r>
            <a:endParaRPr lang="de-DE" sz="1300" dirty="0">
              <a:solidFill>
                <a:schemeClr val="bg1"/>
              </a:solidFill>
            </a:endParaRPr>
          </a:p>
        </p:txBody>
      </p:sp>
      <p:sp>
        <p:nvSpPr>
          <p:cNvPr id="27" name="Flussdiagramm: Magnetplattenspeicher 26"/>
          <p:cNvSpPr/>
          <p:nvPr/>
        </p:nvSpPr>
        <p:spPr bwMode="auto">
          <a:xfrm>
            <a:off x="2351088" y="3474057"/>
            <a:ext cx="449262" cy="257175"/>
          </a:xfrm>
          <a:prstGeom prst="flowChartMagneticDisk">
            <a:avLst/>
          </a:prstGeom>
          <a:solidFill>
            <a:schemeClr val="accent5"/>
          </a:solidFill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>
              <a:defRPr/>
            </a:pPr>
            <a:endParaRPr lang="de-DE" sz="1300"/>
          </a:p>
        </p:txBody>
      </p:sp>
      <p:sp>
        <p:nvSpPr>
          <p:cNvPr id="28" name="Rechteck 27"/>
          <p:cNvSpPr/>
          <p:nvPr/>
        </p:nvSpPr>
        <p:spPr bwMode="auto">
          <a:xfrm>
            <a:off x="970582" y="4293096"/>
            <a:ext cx="4681538" cy="1800000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de-DE" sz="1600" b="1" dirty="0" smtClean="0">
                <a:solidFill>
                  <a:schemeClr val="bg1"/>
                </a:solidFill>
              </a:rPr>
              <a:t>Entwicklungsumgebung</a:t>
            </a:r>
            <a:endParaRPr lang="de-DE" sz="1600" b="1" dirty="0">
              <a:solidFill>
                <a:schemeClr val="bg1"/>
              </a:solidFill>
            </a:endParaRPr>
          </a:p>
        </p:txBody>
      </p:sp>
      <p:cxnSp>
        <p:nvCxnSpPr>
          <p:cNvPr id="29" name="Gerade Verbindung mit Pfeil 28"/>
          <p:cNvCxnSpPr/>
          <p:nvPr/>
        </p:nvCxnSpPr>
        <p:spPr bwMode="auto">
          <a:xfrm rot="16200000" flipV="1">
            <a:off x="3187046" y="4059466"/>
            <a:ext cx="395248" cy="2"/>
          </a:xfrm>
          <a:prstGeom prst="straightConnector1">
            <a:avLst/>
          </a:prstGeom>
          <a:ln>
            <a:headEnd type="none" w="med" len="med"/>
            <a:tailEnd type="arrow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-</a:t>
            </a:r>
            <a:fld id="{21FBF85A-D7A6-488B-8C2B-F7E0D6843921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9475505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D4457F8-24B0-4EBE-8349-97DB722E2B90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aktor-IPS kann </a:t>
            </a:r>
            <a:r>
              <a:rPr lang="de-DE" dirty="0" smtClean="0"/>
              <a:t>als </a:t>
            </a:r>
            <a:r>
              <a:rPr lang="de-DE" dirty="0" smtClean="0"/>
              <a:t>Entwicklungswerkzeug für ein operatives System und als </a:t>
            </a:r>
            <a:r>
              <a:rPr lang="de-DE" dirty="0" err="1" smtClean="0"/>
              <a:t>Produktkonfigurator</a:t>
            </a:r>
            <a:r>
              <a:rPr lang="de-DE" dirty="0" smtClean="0"/>
              <a:t> verwendet werden.</a:t>
            </a:r>
            <a:endParaRPr lang="de-DE" dirty="0"/>
          </a:p>
        </p:txBody>
      </p:sp>
      <p:sp>
        <p:nvSpPr>
          <p:cNvPr id="47" name="Rechteck 46"/>
          <p:cNvSpPr/>
          <p:nvPr/>
        </p:nvSpPr>
        <p:spPr bwMode="auto">
          <a:xfrm>
            <a:off x="972000" y="4294800"/>
            <a:ext cx="7821613" cy="1800000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anchor="t" anchorCtr="0"/>
          <a:lstStyle/>
          <a:p>
            <a:pPr>
              <a:defRPr/>
            </a:pPr>
            <a:r>
              <a:rPr lang="de-DE" sz="1800" b="1" dirty="0" err="1" smtClean="0">
                <a:solidFill>
                  <a:schemeClr val="bg1"/>
                </a:solidFill>
              </a:rPr>
              <a:t>Eclipse</a:t>
            </a:r>
            <a:endParaRPr lang="de-DE" sz="1800" b="1" dirty="0">
              <a:solidFill>
                <a:schemeClr val="bg1"/>
              </a:solidFill>
            </a:endParaRPr>
          </a:p>
        </p:txBody>
      </p:sp>
      <p:sp>
        <p:nvSpPr>
          <p:cNvPr id="48" name="Rechteck 47"/>
          <p:cNvSpPr/>
          <p:nvPr/>
        </p:nvSpPr>
        <p:spPr bwMode="auto">
          <a:xfrm>
            <a:off x="927100" y="1341686"/>
            <a:ext cx="4681538" cy="2519362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de-DE" sz="1600" b="1" dirty="0">
                <a:solidFill>
                  <a:schemeClr val="accent4"/>
                </a:solidFill>
              </a:rPr>
              <a:t>Operatives</a:t>
            </a:r>
          </a:p>
          <a:p>
            <a:pPr>
              <a:defRPr/>
            </a:pPr>
            <a:r>
              <a:rPr lang="de-DE" sz="1600" b="1" dirty="0">
                <a:solidFill>
                  <a:schemeClr val="accent4"/>
                </a:solidFill>
              </a:rPr>
              <a:t>System</a:t>
            </a:r>
          </a:p>
        </p:txBody>
      </p:sp>
      <p:sp>
        <p:nvSpPr>
          <p:cNvPr id="49" name="Abgerundetes Rechteck 48"/>
          <p:cNvSpPr/>
          <p:nvPr/>
        </p:nvSpPr>
        <p:spPr bwMode="auto">
          <a:xfrm>
            <a:off x="2224088" y="1484561"/>
            <a:ext cx="1020762" cy="576262"/>
          </a:xfrm>
          <a:prstGeom prst="round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de-DE" sz="1300" dirty="0">
                <a:solidFill>
                  <a:schemeClr val="bg1"/>
                </a:solidFill>
              </a:rPr>
              <a:t>User Interface</a:t>
            </a:r>
          </a:p>
        </p:txBody>
      </p:sp>
      <p:sp>
        <p:nvSpPr>
          <p:cNvPr id="50" name="Abgerundetes Rechteck 49"/>
          <p:cNvSpPr/>
          <p:nvPr/>
        </p:nvSpPr>
        <p:spPr bwMode="auto">
          <a:xfrm>
            <a:off x="2224088" y="2205286"/>
            <a:ext cx="2159000" cy="1111250"/>
          </a:xfrm>
          <a:prstGeom prst="round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de-DE" sz="1300" dirty="0">
                <a:solidFill>
                  <a:schemeClr val="bg1"/>
                </a:solidFill>
              </a:rPr>
              <a:t>Geschäftslogik</a:t>
            </a:r>
          </a:p>
        </p:txBody>
      </p:sp>
      <p:sp>
        <p:nvSpPr>
          <p:cNvPr id="51" name="Abgerundetes Rechteck 50"/>
          <p:cNvSpPr/>
          <p:nvPr/>
        </p:nvSpPr>
        <p:spPr bwMode="auto">
          <a:xfrm>
            <a:off x="3375025" y="1484561"/>
            <a:ext cx="1008063" cy="576262"/>
          </a:xfrm>
          <a:prstGeom prst="round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de-DE" sz="1300" dirty="0">
                <a:solidFill>
                  <a:schemeClr val="bg1"/>
                </a:solidFill>
              </a:rPr>
              <a:t>Batchjobs</a:t>
            </a:r>
          </a:p>
          <a:p>
            <a:pPr algn="ctr">
              <a:defRPr/>
            </a:pPr>
            <a:r>
              <a:rPr lang="de-DE" sz="1300" dirty="0">
                <a:solidFill>
                  <a:schemeClr val="bg1"/>
                </a:solidFill>
              </a:rPr>
              <a:t>Services</a:t>
            </a:r>
          </a:p>
        </p:txBody>
      </p:sp>
      <p:sp>
        <p:nvSpPr>
          <p:cNvPr id="52" name="Abgerundetes Rechteck 51"/>
          <p:cNvSpPr/>
          <p:nvPr/>
        </p:nvSpPr>
        <p:spPr bwMode="auto">
          <a:xfrm>
            <a:off x="2295525" y="2583111"/>
            <a:ext cx="1079500" cy="630237"/>
          </a:xfrm>
          <a:prstGeom prst="round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sz="1300" dirty="0"/>
              <a:t>Geschäfts-objekte</a:t>
            </a:r>
          </a:p>
        </p:txBody>
      </p:sp>
      <p:sp>
        <p:nvSpPr>
          <p:cNvPr id="53" name="Abgerundetes Rechteck 52"/>
          <p:cNvSpPr/>
          <p:nvPr/>
        </p:nvSpPr>
        <p:spPr bwMode="auto">
          <a:xfrm>
            <a:off x="998537" y="3068886"/>
            <a:ext cx="1116000" cy="756000"/>
          </a:xfrm>
          <a:prstGeom prst="round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anchor="ctr" anchorCtr="0"/>
          <a:lstStyle/>
          <a:p>
            <a:pPr algn="ctr">
              <a:defRPr/>
            </a:pPr>
            <a:r>
              <a:rPr lang="de-DE" sz="1300" dirty="0">
                <a:solidFill>
                  <a:schemeClr val="bg1"/>
                </a:solidFill>
              </a:rPr>
              <a:t>Dienste</a:t>
            </a:r>
          </a:p>
        </p:txBody>
      </p:sp>
      <p:sp>
        <p:nvSpPr>
          <p:cNvPr id="54" name="Abgerundetes Rechteck 53"/>
          <p:cNvSpPr/>
          <p:nvPr/>
        </p:nvSpPr>
        <p:spPr bwMode="auto">
          <a:xfrm>
            <a:off x="998537" y="2205286"/>
            <a:ext cx="1116000" cy="756000"/>
          </a:xfrm>
          <a:prstGeom prst="round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36000" rIns="36000" anchor="ctr" anchorCtr="0"/>
          <a:lstStyle/>
          <a:p>
            <a:pPr algn="ctr">
              <a:defRPr/>
            </a:pPr>
            <a:endParaRPr lang="de-DE" sz="1300" dirty="0" smtClean="0">
              <a:solidFill>
                <a:schemeClr val="bg1"/>
              </a:solidFill>
            </a:endParaRPr>
          </a:p>
          <a:p>
            <a:pPr algn="ctr">
              <a:defRPr/>
            </a:pPr>
            <a:endParaRPr lang="de-DE" sz="1300" dirty="0" smtClean="0">
              <a:solidFill>
                <a:schemeClr val="bg1"/>
              </a:solidFill>
            </a:endParaRPr>
          </a:p>
          <a:p>
            <a:pPr algn="ctr">
              <a:defRPr/>
            </a:pPr>
            <a:endParaRPr lang="de-DE" sz="1300" dirty="0" smtClean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de-DE" sz="1300" dirty="0" smtClean="0">
                <a:solidFill>
                  <a:schemeClr val="bg1"/>
                </a:solidFill>
              </a:rPr>
              <a:t>Anbindung</a:t>
            </a:r>
            <a:endParaRPr lang="de-DE" sz="1300" dirty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de-DE" sz="1300" dirty="0" err="1">
                <a:solidFill>
                  <a:schemeClr val="bg1"/>
                </a:solidFill>
              </a:rPr>
              <a:t>Umsysteme</a:t>
            </a:r>
            <a:endParaRPr lang="de-DE" sz="1300" dirty="0">
              <a:solidFill>
                <a:schemeClr val="bg1"/>
              </a:solidFill>
            </a:endParaRPr>
          </a:p>
          <a:p>
            <a:pPr algn="ctr">
              <a:defRPr/>
            </a:pPr>
            <a:endParaRPr lang="de-DE" sz="1300" dirty="0">
              <a:solidFill>
                <a:schemeClr val="bg1"/>
              </a:solidFill>
            </a:endParaRPr>
          </a:p>
          <a:p>
            <a:pPr algn="ctr">
              <a:defRPr/>
            </a:pPr>
            <a:endParaRPr lang="de-DE" sz="1300" dirty="0">
              <a:solidFill>
                <a:schemeClr val="bg1"/>
              </a:solidFill>
            </a:endParaRPr>
          </a:p>
          <a:p>
            <a:pPr algn="ctr">
              <a:defRPr/>
            </a:pPr>
            <a:endParaRPr lang="de-DE" sz="1300" dirty="0">
              <a:solidFill>
                <a:schemeClr val="bg1"/>
              </a:solidFill>
            </a:endParaRPr>
          </a:p>
        </p:txBody>
      </p:sp>
      <p:sp>
        <p:nvSpPr>
          <p:cNvPr id="55" name="Abgerundetes Rechteck 54"/>
          <p:cNvSpPr/>
          <p:nvPr/>
        </p:nvSpPr>
        <p:spPr bwMode="auto">
          <a:xfrm>
            <a:off x="4427984" y="2205286"/>
            <a:ext cx="1116000" cy="1543050"/>
          </a:xfrm>
          <a:prstGeom prst="round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Ins="36000" anchor="ctr" anchorCtr="0"/>
          <a:lstStyle/>
          <a:p>
            <a:pPr algn="ctr">
              <a:defRPr/>
            </a:pPr>
            <a:r>
              <a:rPr lang="de-DE" sz="1300" dirty="0">
                <a:solidFill>
                  <a:schemeClr val="bg1"/>
                </a:solidFill>
              </a:rPr>
              <a:t>Anbindung</a:t>
            </a:r>
          </a:p>
          <a:p>
            <a:pPr algn="ctr">
              <a:defRPr/>
            </a:pPr>
            <a:r>
              <a:rPr lang="de-DE" sz="1300" dirty="0">
                <a:solidFill>
                  <a:schemeClr val="bg1"/>
                </a:solidFill>
              </a:rPr>
              <a:t>Faktor-IPS</a:t>
            </a:r>
          </a:p>
        </p:txBody>
      </p:sp>
      <p:sp>
        <p:nvSpPr>
          <p:cNvPr id="56" name="Abgerundetes Rechteck 55"/>
          <p:cNvSpPr/>
          <p:nvPr/>
        </p:nvSpPr>
        <p:spPr bwMode="auto">
          <a:xfrm>
            <a:off x="3557589" y="2583111"/>
            <a:ext cx="754062" cy="630237"/>
          </a:xfrm>
          <a:prstGeom prst="round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sz="1300" dirty="0" err="1"/>
              <a:t>GeVos</a:t>
            </a:r>
            <a:endParaRPr lang="de-DE" sz="1300" dirty="0"/>
          </a:p>
        </p:txBody>
      </p:sp>
      <p:sp>
        <p:nvSpPr>
          <p:cNvPr id="57" name="Rechteck 56"/>
          <p:cNvSpPr/>
          <p:nvPr/>
        </p:nvSpPr>
        <p:spPr bwMode="auto">
          <a:xfrm>
            <a:off x="6624774" y="1664804"/>
            <a:ext cx="1871662" cy="1800225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72000" tIns="36000" rIns="36000" bIns="36000" rtlCol="0" anchor="ctr" anchorCtr="0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defRPr/>
            </a:pPr>
            <a:r>
              <a:rPr lang="de-DE" sz="1800" b="1" dirty="0">
                <a:solidFill>
                  <a:schemeClr val="accent3"/>
                </a:solidFill>
                <a:latin typeface="Arial" charset="0"/>
                <a:cs typeface="Arial" charset="0"/>
                <a:sym typeface="Arial" charset="0"/>
              </a:rPr>
              <a:t>Faktor-IPS </a:t>
            </a:r>
            <a:r>
              <a:rPr lang="de-DE" sz="1800" b="1" dirty="0" err="1">
                <a:solidFill>
                  <a:schemeClr val="accent3"/>
                </a:solidFill>
                <a:latin typeface="Arial" charset="0"/>
                <a:cs typeface="Arial" charset="0"/>
                <a:sym typeface="Arial" charset="0"/>
              </a:rPr>
              <a:t>Runtime</a:t>
            </a:r>
            <a:endParaRPr lang="de-DE" sz="1800" b="1" dirty="0">
              <a:solidFill>
                <a:schemeClr val="accent3"/>
              </a:solidFill>
              <a:latin typeface="Arial" charset="0"/>
              <a:cs typeface="Arial" charset="0"/>
              <a:sym typeface="Arial" charset="0"/>
            </a:endParaRPr>
          </a:p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defRPr/>
            </a:pPr>
            <a:endParaRPr lang="de-DE" sz="1800" b="1" dirty="0">
              <a:solidFill>
                <a:schemeClr val="accent3"/>
              </a:solidFill>
              <a:latin typeface="Arial" charset="0"/>
              <a:cs typeface="Arial" charset="0"/>
              <a:sym typeface="Arial" charset="0"/>
            </a:endParaRPr>
          </a:p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defRPr/>
            </a:pPr>
            <a:r>
              <a:rPr lang="de-DE" sz="1600" b="1" dirty="0">
                <a:solidFill>
                  <a:schemeClr val="accent3"/>
                </a:solidFill>
                <a:latin typeface="Arial" charset="0"/>
                <a:cs typeface="Arial" charset="0"/>
                <a:sym typeface="Arial" charset="0"/>
              </a:rPr>
              <a:t>(Produkt Server)</a:t>
            </a:r>
          </a:p>
        </p:txBody>
      </p:sp>
      <p:sp>
        <p:nvSpPr>
          <p:cNvPr id="58" name="Abgerundetes Rechteck 57"/>
          <p:cNvSpPr/>
          <p:nvPr/>
        </p:nvSpPr>
        <p:spPr bwMode="auto">
          <a:xfrm>
            <a:off x="6624774" y="4437112"/>
            <a:ext cx="1871662" cy="1368152"/>
          </a:xfrm>
          <a:prstGeom prst="roundRect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72000" tIns="36000" rIns="36000" bIns="36000" rtlCol="0" anchor="t" anchorCtr="0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defRPr/>
            </a:pPr>
            <a:r>
              <a:rPr lang="de-DE" sz="1800" b="1" dirty="0">
                <a:solidFill>
                  <a:schemeClr val="accent3"/>
                </a:solidFill>
                <a:latin typeface="Arial" charset="0"/>
                <a:cs typeface="Arial" charset="0"/>
                <a:sym typeface="Arial" charset="0"/>
              </a:rPr>
              <a:t>Faktor-IPS</a:t>
            </a:r>
          </a:p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defRPr/>
            </a:pPr>
            <a:endParaRPr lang="de-DE" sz="1800" b="1" dirty="0">
              <a:solidFill>
                <a:schemeClr val="accent3"/>
              </a:solidFill>
              <a:latin typeface="Arial" charset="0"/>
              <a:cs typeface="Arial" charset="0"/>
              <a:sym typeface="Arial" charset="0"/>
            </a:endParaRPr>
          </a:p>
        </p:txBody>
      </p:sp>
      <p:sp>
        <p:nvSpPr>
          <p:cNvPr id="59" name="Pfeil nach rechts 58"/>
          <p:cNvSpPr/>
          <p:nvPr/>
        </p:nvSpPr>
        <p:spPr bwMode="auto">
          <a:xfrm>
            <a:off x="5652120" y="2348880"/>
            <a:ext cx="908050" cy="452437"/>
          </a:xfrm>
          <a:prstGeom prst="rightArrow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endParaRPr lang="de-DE"/>
          </a:p>
        </p:txBody>
      </p:sp>
      <p:cxnSp>
        <p:nvCxnSpPr>
          <p:cNvPr id="60" name="Gerade Verbindung 59"/>
          <p:cNvCxnSpPr/>
          <p:nvPr/>
        </p:nvCxnSpPr>
        <p:spPr bwMode="auto">
          <a:xfrm>
            <a:off x="250825" y="4005263"/>
            <a:ext cx="8642350" cy="0"/>
          </a:xfrm>
          <a:prstGeom prst="line">
            <a:avLst/>
          </a:prstGeom>
          <a:ln w="6350"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61" name="Gerade Verbindung mit Pfeil 60"/>
          <p:cNvCxnSpPr/>
          <p:nvPr/>
        </p:nvCxnSpPr>
        <p:spPr bwMode="auto">
          <a:xfrm rot="5400000" flipH="1" flipV="1">
            <a:off x="7146634" y="3878975"/>
            <a:ext cx="756083" cy="149"/>
          </a:xfrm>
          <a:prstGeom prst="straightConnector1">
            <a:avLst/>
          </a:prstGeom>
          <a:ln>
            <a:prstDash val="sysDash"/>
            <a:headEnd type="none" w="med" len="med"/>
            <a:tailEnd type="arrow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62" name="Abgerundetes Rechteck 61"/>
          <p:cNvSpPr/>
          <p:nvPr/>
        </p:nvSpPr>
        <p:spPr bwMode="auto">
          <a:xfrm>
            <a:off x="6711479" y="4940348"/>
            <a:ext cx="1677988" cy="576263"/>
          </a:xfrm>
          <a:prstGeom prst="roundRect">
            <a:avLst/>
          </a:prstGeom>
          <a:solidFill>
            <a:schemeClr val="bg1">
              <a:lumMod val="95000"/>
              <a:alpha val="85000"/>
            </a:schemeClr>
          </a:solidFill>
          <a:ln w="0">
            <a:solidFill>
              <a:schemeClr val="bg1">
                <a:lumMod val="75000"/>
              </a:schemeClr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0" rtlCol="0" anchor="ctr" anchorCtr="1"/>
          <a:lstStyle/>
          <a:p>
            <a:pPr algn="ctr">
              <a:defRPr/>
            </a:pPr>
            <a:r>
              <a:rPr lang="de-DE" sz="1400" dirty="0">
                <a:solidFill>
                  <a:schemeClr val="tx1"/>
                </a:solidFill>
              </a:rPr>
              <a:t>Produktdefinition</a:t>
            </a:r>
          </a:p>
        </p:txBody>
      </p:sp>
      <p:sp>
        <p:nvSpPr>
          <p:cNvPr id="63" name="Abgerundetes Rechteck 62"/>
          <p:cNvSpPr/>
          <p:nvPr/>
        </p:nvSpPr>
        <p:spPr bwMode="auto">
          <a:xfrm>
            <a:off x="2224088" y="3429248"/>
            <a:ext cx="2159000" cy="342900"/>
          </a:xfrm>
          <a:prstGeom prst="round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/>
          <a:lstStyle/>
          <a:p>
            <a:pPr marL="715963">
              <a:tabLst>
                <a:tab pos="715963" algn="l"/>
              </a:tabLst>
              <a:defRPr/>
            </a:pPr>
            <a:r>
              <a:rPr lang="de-DE" sz="1300" dirty="0" smtClean="0">
                <a:solidFill>
                  <a:schemeClr val="bg1"/>
                </a:solidFill>
              </a:rPr>
              <a:t>Persistenz</a:t>
            </a:r>
            <a:endParaRPr lang="de-DE" sz="1300" dirty="0">
              <a:solidFill>
                <a:schemeClr val="bg1"/>
              </a:solidFill>
            </a:endParaRPr>
          </a:p>
        </p:txBody>
      </p:sp>
      <p:sp>
        <p:nvSpPr>
          <p:cNvPr id="64" name="Flussdiagramm: Magnetplattenspeicher 63"/>
          <p:cNvSpPr/>
          <p:nvPr/>
        </p:nvSpPr>
        <p:spPr bwMode="auto">
          <a:xfrm>
            <a:off x="2351088" y="3474057"/>
            <a:ext cx="449262" cy="257175"/>
          </a:xfrm>
          <a:prstGeom prst="flowChartMagneticDisk">
            <a:avLst/>
          </a:prstGeom>
          <a:solidFill>
            <a:schemeClr val="accent5"/>
          </a:solidFill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>
              <a:defRPr/>
            </a:pPr>
            <a:endParaRPr lang="de-DE" sz="1300"/>
          </a:p>
        </p:txBody>
      </p:sp>
      <p:sp>
        <p:nvSpPr>
          <p:cNvPr id="65" name="Abgerundetes Rechteck 64"/>
          <p:cNvSpPr/>
          <p:nvPr/>
        </p:nvSpPr>
        <p:spPr bwMode="auto">
          <a:xfrm>
            <a:off x="2351088" y="4473090"/>
            <a:ext cx="3192896" cy="1332173"/>
          </a:xfrm>
          <a:prstGeom prst="roundRect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72000" tIns="36000" rIns="36000" bIns="36000" rtlCol="0" anchor="t" anchorCtr="0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defRPr/>
            </a:pPr>
            <a:r>
              <a:rPr lang="de-DE" sz="1800" b="1" dirty="0" smtClean="0">
                <a:solidFill>
                  <a:schemeClr val="accent3"/>
                </a:solidFill>
                <a:latin typeface="Arial" charset="0"/>
                <a:cs typeface="Arial" charset="0"/>
                <a:sym typeface="Arial" charset="0"/>
              </a:rPr>
              <a:t>Faktor-IPS</a:t>
            </a:r>
          </a:p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defRPr/>
            </a:pPr>
            <a:endParaRPr lang="de-DE" sz="1800" b="1" dirty="0">
              <a:solidFill>
                <a:schemeClr val="accent3"/>
              </a:solidFill>
              <a:latin typeface="Arial" charset="0"/>
              <a:cs typeface="Arial" charset="0"/>
              <a:sym typeface="Arial" charset="0"/>
            </a:endParaRPr>
          </a:p>
        </p:txBody>
      </p:sp>
      <p:sp>
        <p:nvSpPr>
          <p:cNvPr id="66" name="Abgerundetes Rechteck 65"/>
          <p:cNvSpPr/>
          <p:nvPr/>
        </p:nvSpPr>
        <p:spPr bwMode="auto">
          <a:xfrm>
            <a:off x="2509801" y="4904890"/>
            <a:ext cx="2782279" cy="576263"/>
          </a:xfrm>
          <a:prstGeom prst="roundRect">
            <a:avLst/>
          </a:prstGeom>
          <a:solidFill>
            <a:schemeClr val="bg1">
              <a:lumMod val="95000"/>
              <a:alpha val="85000"/>
            </a:schemeClr>
          </a:solidFill>
          <a:ln w="0">
            <a:solidFill>
              <a:schemeClr val="bg1">
                <a:lumMod val="75000"/>
              </a:schemeClr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0" rtlCol="0" anchor="ctr" anchorCtr="1"/>
          <a:lstStyle/>
          <a:p>
            <a:pPr algn="ctr">
              <a:defRPr/>
            </a:pPr>
            <a:r>
              <a:rPr lang="de-DE" sz="1400" dirty="0">
                <a:solidFill>
                  <a:schemeClr val="tx1"/>
                </a:solidFill>
              </a:rPr>
              <a:t>Modellierung &amp; Codegenerierung</a:t>
            </a:r>
          </a:p>
        </p:txBody>
      </p:sp>
      <p:cxnSp>
        <p:nvCxnSpPr>
          <p:cNvPr id="67" name="Gerade Verbindung mit Pfeil 66"/>
          <p:cNvCxnSpPr/>
          <p:nvPr/>
        </p:nvCxnSpPr>
        <p:spPr bwMode="auto">
          <a:xfrm rot="5400000" flipH="1" flipV="1">
            <a:off x="2158316" y="3822011"/>
            <a:ext cx="1012536" cy="1592"/>
          </a:xfrm>
          <a:prstGeom prst="straightConnector1">
            <a:avLst/>
          </a:prstGeom>
          <a:ln>
            <a:headEnd type="none" w="med" len="med"/>
            <a:tailEnd type="arrow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68" name="Gerade Verbindung mit Pfeil 67"/>
          <p:cNvCxnSpPr/>
          <p:nvPr/>
        </p:nvCxnSpPr>
        <p:spPr bwMode="auto">
          <a:xfrm rot="5400000" flipH="1" flipV="1">
            <a:off x="3041844" y="4095062"/>
            <a:ext cx="468026" cy="1"/>
          </a:xfrm>
          <a:prstGeom prst="straightConnector1">
            <a:avLst/>
          </a:prstGeom>
          <a:ln>
            <a:headEnd type="none" w="med" len="med"/>
            <a:tailEnd type="arrow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69" name="Gerade Verbindung mit Pfeil 68"/>
          <p:cNvCxnSpPr/>
          <p:nvPr/>
        </p:nvCxnSpPr>
        <p:spPr bwMode="auto">
          <a:xfrm rot="5400000" flipH="1" flipV="1">
            <a:off x="4734031" y="4059059"/>
            <a:ext cx="540035" cy="1"/>
          </a:xfrm>
          <a:prstGeom prst="straightConnector1">
            <a:avLst/>
          </a:prstGeom>
          <a:ln>
            <a:headEnd type="none" w="med" len="med"/>
            <a:tailEnd type="arrow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70" name="Gerade Verbindung mit Pfeil 69"/>
          <p:cNvCxnSpPr/>
          <p:nvPr/>
        </p:nvCxnSpPr>
        <p:spPr bwMode="auto">
          <a:xfrm rot="16200000" flipV="1">
            <a:off x="3543663" y="3819107"/>
            <a:ext cx="976554" cy="1"/>
          </a:xfrm>
          <a:prstGeom prst="straightConnector1">
            <a:avLst/>
          </a:prstGeom>
          <a:ln>
            <a:solidFill>
              <a:schemeClr val="accent5"/>
            </a:solidFill>
            <a:prstDash val="solid"/>
            <a:headEnd type="none" w="med" len="med"/>
            <a:tailEnd type="arrow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-</a:t>
            </a:r>
            <a:fld id="{21FBF85A-D7A6-488B-8C2B-F7E0D6843921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2867130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B6AE2F2-6B15-40C1-B689-64FD91896D6E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Ziel </a:t>
            </a:r>
            <a:r>
              <a:rPr lang="de-DE" smtClean="0"/>
              <a:t>der Übungen</a:t>
            </a:r>
            <a:endParaRPr lang="pt-BR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8640762" cy="5003800"/>
          </a:xfrm>
        </p:spPr>
        <p:txBody>
          <a:bodyPr/>
          <a:lstStyle/>
          <a:p>
            <a:pPr marL="285750" indent="-285750">
              <a:buFont typeface="Wingdings" pitchFamily="2" charset="2"/>
              <a:buChar char="§"/>
            </a:pPr>
            <a:r>
              <a:rPr lang="de-DE" dirty="0" smtClean="0"/>
              <a:t>Mini-Tarifrechner </a:t>
            </a:r>
            <a:r>
              <a:rPr lang="de-DE" dirty="0" smtClean="0"/>
              <a:t>für </a:t>
            </a:r>
            <a:r>
              <a:rPr lang="de-DE" dirty="0" smtClean="0"/>
              <a:t>Hausrat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de-DE" dirty="0" smtClean="0"/>
              <a:t>Einführung einer neuen Produktgeneration</a:t>
            </a:r>
            <a:endParaRPr lang="de-DE" dirty="0"/>
          </a:p>
          <a:p>
            <a:endParaRPr lang="pt-BR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-</a:t>
            </a:r>
            <a:fld id="{21FBF85A-D7A6-488B-8C2B-F7E0D6843921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6373171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heme/theme1.xml><?xml version="1.0" encoding="utf-8"?>
<a:theme xmlns:a="http://schemas.openxmlformats.org/drawingml/2006/main" name="Master - ConVista General ">
  <a:themeElements>
    <a:clrScheme name="CONVISTA">
      <a:dk1>
        <a:srgbClr val="005596"/>
      </a:dk1>
      <a:lt1>
        <a:srgbClr val="FFFFFF"/>
      </a:lt1>
      <a:dk2>
        <a:srgbClr val="585858"/>
      </a:dk2>
      <a:lt2>
        <a:srgbClr val="B2B2B2"/>
      </a:lt2>
      <a:accent1>
        <a:srgbClr val="39A9DC"/>
      </a:accent1>
      <a:accent2>
        <a:srgbClr val="EE7F00"/>
      </a:accent2>
      <a:accent3>
        <a:srgbClr val="FFFFFF"/>
      </a:accent3>
      <a:accent4>
        <a:srgbClr val="585858"/>
      </a:accent4>
      <a:accent5>
        <a:srgbClr val="B2B2B2"/>
      </a:accent5>
      <a:accent6>
        <a:srgbClr val="172D5F"/>
      </a:accent6>
      <a:hlink>
        <a:srgbClr val="005596"/>
      </a:hlink>
      <a:folHlink>
        <a:srgbClr val="585858"/>
      </a:folHlink>
    </a:clrScheme>
    <a:fontScheme name="Terms of Reference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cap="flat">
          <a:solidFill>
            <a:schemeClr val="tx2"/>
          </a:solidFill>
          <a:prstDash val="solid"/>
          <a:miter lim="800000"/>
          <a:headEnd type="none" w="med" len="med"/>
          <a:tailEnd type="none" w="med" len="med"/>
        </a:ln>
        <a:effectLst/>
      </a:spPr>
      <a:bodyPr lIns="72000" tIns="72000" rIns="72000" bIns="72000" rtlCol="0" anchor="t"/>
      <a:lstStyle>
        <a:defPPr marL="180975" indent="-180975" algn="l">
          <a:lnSpc>
            <a:spcPct val="90000"/>
          </a:lnSpc>
          <a:spcBef>
            <a:spcPts val="500"/>
          </a:spcBef>
          <a:buClr>
            <a:schemeClr val="tx2"/>
          </a:buClr>
          <a:buSzPct val="100000"/>
          <a:buFont typeface="Wingdings" pitchFamily="2" charset="2"/>
          <a:buChar char="§"/>
          <a:tabLst>
            <a:tab pos="180975" algn="l"/>
          </a:tabLst>
          <a:defRPr sz="1100" dirty="0" err="1" smtClean="0">
            <a:solidFill>
              <a:schemeClr val="tx2"/>
            </a:solidFill>
            <a:sym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36000" tIns="36000" rIns="36000" bIns="36000" rtlCol="0">
        <a:spAutoFit/>
      </a:bodyPr>
      <a:lstStyle>
        <a:defPPr>
          <a:spcAft>
            <a:spcPts val="600"/>
          </a:spcAft>
          <a:defRPr sz="16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Terms of Reference Master 1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rms of Reference Master 2">
        <a:dk1>
          <a:srgbClr val="585858"/>
        </a:dk1>
        <a:lt1>
          <a:srgbClr val="FFFFFF"/>
        </a:lt1>
        <a:dk2>
          <a:srgbClr val="585858"/>
        </a:dk2>
        <a:lt2>
          <a:srgbClr val="B2B2B2"/>
        </a:lt2>
        <a:accent1>
          <a:srgbClr val="004C88"/>
        </a:accent1>
        <a:accent2>
          <a:srgbClr val="FF9900"/>
        </a:accent2>
        <a:accent3>
          <a:srgbClr val="FFFFFF"/>
        </a:accent3>
        <a:accent4>
          <a:srgbClr val="4A4A4A"/>
        </a:accent4>
        <a:accent5>
          <a:srgbClr val="AAB2C3"/>
        </a:accent5>
        <a:accent6>
          <a:srgbClr val="E78A00"/>
        </a:accent6>
        <a:hlink>
          <a:srgbClr val="3F649B"/>
        </a:hlink>
        <a:folHlink>
          <a:srgbClr val="A0C2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92</Words>
  <Application>Microsoft Office PowerPoint</Application>
  <PresentationFormat>Bildschirmpräsentation (4:3)</PresentationFormat>
  <Paragraphs>108</Paragraphs>
  <Slides>9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0" baseType="lpstr">
      <vt:lpstr>Master - ConVista General </vt:lpstr>
      <vt:lpstr>PowerPoint-Präsentation</vt:lpstr>
      <vt:lpstr>Agenda</vt:lpstr>
      <vt:lpstr>Faktor-IPS – Film</vt:lpstr>
      <vt:lpstr>Faktor-IPS ist ein Modellierungs- und Produktdefinitions-werkzeug auf Basis von Java &amp; Eclipse.</vt:lpstr>
      <vt:lpstr>Konkrete Produkte basieren auf einem Vertrags- und Produktmodell</vt:lpstr>
      <vt:lpstr>Faktor-IPS ist ein Werkzeug für Produktentwickler und Anwendungsentwickler</vt:lpstr>
      <vt:lpstr>Faktor-IPS kann als klassisches Produktsystem eingesetzt werden.</vt:lpstr>
      <vt:lpstr>Faktor-IPS kann als Entwicklungswerkzeug für ein operatives System und als Produktkonfigurator verwendet werden.</vt:lpstr>
      <vt:lpstr>Ziel der Übungen</vt:lpstr>
    </vt:vector>
  </TitlesOfParts>
  <Company>Convista Consulting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Point Master</dc:title>
  <dc:creator>ConVista Consulting AG</dc:creator>
  <dc:description>© ConVista Consulting AG 2012</dc:description>
  <cp:lastModifiedBy>Cornelius Dirmeier</cp:lastModifiedBy>
  <cp:revision>1628</cp:revision>
  <cp:lastPrinted>2012-11-19T11:42:38Z</cp:lastPrinted>
  <dcterms:created xsi:type="dcterms:W3CDTF">2005-03-22T09:36:15Z</dcterms:created>
  <dcterms:modified xsi:type="dcterms:W3CDTF">2015-04-15T16:13:38Z</dcterms:modified>
  <cp:category>Master</cp:category>
  <cp:contentStatus>RELEASED</cp:contentStatus>
</cp:coreProperties>
</file>